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7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8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charts/chart1.xml" ContentType="application/vnd.openxmlformats-officedocument.drawingml.chart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1"/>
    <p:sldMasterId id="2147483660" r:id="rId2"/>
    <p:sldMasterId id="2147483724" r:id="rId3"/>
    <p:sldMasterId id="2147483747" r:id="rId4"/>
    <p:sldMasterId id="2147483759" r:id="rId5"/>
    <p:sldMasterId id="2147483778" r:id="rId6"/>
    <p:sldMasterId id="2147483802" r:id="rId7"/>
  </p:sldMasterIdLst>
  <p:notesMasterIdLst>
    <p:notesMasterId r:id="rId19"/>
  </p:notesMasterIdLst>
  <p:sldIdLst>
    <p:sldId id="685" r:id="rId8"/>
    <p:sldId id="672" r:id="rId9"/>
    <p:sldId id="680" r:id="rId10"/>
    <p:sldId id="681" r:id="rId11"/>
    <p:sldId id="682" r:id="rId12"/>
    <p:sldId id="683" r:id="rId13"/>
    <p:sldId id="686" r:id="rId14"/>
    <p:sldId id="687" r:id="rId15"/>
    <p:sldId id="688" r:id="rId16"/>
    <p:sldId id="689" r:id="rId17"/>
    <p:sldId id="679" r:id="rId18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39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10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5653675382338433E-2"/>
          <c:y val="3.9483675018982541E-2"/>
          <c:w val="0.88801184015786883"/>
          <c:h val="0.9210326499620349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38579181055747408"/>
                  <c:y val="2.27790432801822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1"/>
              <c:layout>
                <c:manualLayout>
                  <c:x val="0.48791317217562902"/>
                  <c:y val="2.27790432801822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2"/>
              <c:layout>
                <c:manualLayout>
                  <c:x val="0.4538727183029107"/>
                  <c:y val="2.27790432801822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3"/>
              <c:layout>
                <c:manualLayout>
                  <c:x val="0.38579181055747408"/>
                  <c:y val="2.27790432801822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4"/>
              <c:layout>
                <c:manualLayout>
                  <c:x val="0.14948199309324126"/>
                  <c:y val="2.27790432801822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dLbl>
              <c:idx val="5"/>
              <c:layout>
                <c:manualLayout>
                  <c:x val="6.3640848544647258E-2"/>
                  <c:y val="2.2779043280182231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20</c:v>
                </c:pt>
                <c:pt idx="1">
                  <c:v>26</c:v>
                </c:pt>
                <c:pt idx="2">
                  <c:v>24</c:v>
                </c:pt>
                <c:pt idx="3">
                  <c:v>20</c:v>
                </c:pt>
                <c:pt idx="4">
                  <c:v>7</c:v>
                </c:pt>
                <c:pt idx="5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81406048"/>
        <c:axId val="1181406440"/>
      </c:barChart>
      <c:catAx>
        <c:axId val="118140604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81406440"/>
        <c:crosses val="min"/>
        <c:auto val="0"/>
        <c:lblAlgn val="ctr"/>
        <c:lblOffset val="100"/>
        <c:noMultiLvlLbl val="0"/>
      </c:catAx>
      <c:valAx>
        <c:axId val="1181406440"/>
        <c:scaling>
          <c:orientation val="minMax"/>
          <c:max val="26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11814060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C586AB3E-5DB4-476E-95CB-25BEA520140F}" type="datetimeFigureOut">
              <a:rPr lang="en-US" smtClean="0"/>
              <a:t>5/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3A958C7C-CAD9-49D7-BBAC-58C222C5717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591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7.bin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8.bin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6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0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2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4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wmf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4358640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493007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493007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93007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493007" y="600746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475137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eedback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028406"/>
            <a:ext cx="9144000" cy="927894"/>
          </a:xfrm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Insert question if appropriat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7384"/>
            <a:ext cx="12192000" cy="410445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invGray">
          <a:xfrm>
            <a:off x="0" y="3889829"/>
            <a:ext cx="4639573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-171450" y="3889829"/>
            <a:ext cx="463957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Marketing Updates</a:t>
            </a:r>
          </a:p>
        </p:txBody>
      </p:sp>
    </p:spTree>
    <p:extLst>
      <p:ext uri="{BB962C8B-B14F-4D97-AF65-F5344CB8AC3E}">
        <p14:creationId xmlns:p14="http://schemas.microsoft.com/office/powerpoint/2010/main" val="9214513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4358640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493007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493007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93007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493007" y="600746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34490307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2135887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ltGray">
          <a:xfrm>
            <a:off x="6581395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270252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712077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2270252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2270252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6718555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6718555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270252" y="602651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718555" y="602651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3513617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4001742" y="789345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ltGray">
          <a:xfrm>
            <a:off x="7885754" y="809067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136107" y="926505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8016436" y="946227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136107" y="4485045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136107" y="4942245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8022914" y="4504767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8022914" y="496196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136107" y="548235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022914" y="5502079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318184" y="789345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52549" y="926505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452549" y="4485045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452549" y="4942245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52549" y="548235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2887589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32297" y="0"/>
            <a:ext cx="4114800" cy="593907"/>
          </a:xfrm>
          <a:solidFill>
            <a:schemeClr val="accent1">
              <a:lumMod val="20000"/>
              <a:lumOff val="80000"/>
            </a:schemeClr>
          </a:solidFill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5480048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 bwMode="ltGray">
          <a:xfrm>
            <a:off x="0" y="3074991"/>
            <a:ext cx="667512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5400">
                <a:solidFill>
                  <a:prstClr val="white"/>
                </a:solidFill>
              </a:rPr>
              <a:t>Initiative  Updates</a:t>
            </a:r>
          </a:p>
        </p:txBody>
      </p:sp>
    </p:spTree>
    <p:extLst>
      <p:ext uri="{BB962C8B-B14F-4D97-AF65-F5344CB8AC3E}">
        <p14:creationId xmlns:p14="http://schemas.microsoft.com/office/powerpoint/2010/main" val="2462394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 bwMode="ltGray">
          <a:xfrm>
            <a:off x="0" y="3074991"/>
            <a:ext cx="601472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5400">
                <a:solidFill>
                  <a:prstClr val="white"/>
                </a:solidFill>
              </a:rPr>
              <a:t>Team  Updates</a:t>
            </a:r>
          </a:p>
        </p:txBody>
      </p:sp>
    </p:spTree>
    <p:extLst>
      <p:ext uri="{BB962C8B-B14F-4D97-AF65-F5344CB8AC3E}">
        <p14:creationId xmlns:p14="http://schemas.microsoft.com/office/powerpoint/2010/main" val="1605348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et Ready 2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0"/>
            <a:ext cx="7968208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ltGray">
          <a:xfrm>
            <a:off x="0" y="1600200"/>
            <a:ext cx="4953000" cy="1828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 bwMode="auto">
          <a:xfrm>
            <a:off x="626533" y="1333501"/>
            <a:ext cx="3945467" cy="1447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6500">
                <a:solidFill>
                  <a:prstClr val="white"/>
                </a:solidFill>
              </a:rPr>
              <a:t>Get ready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 bwMode="auto">
          <a:xfrm>
            <a:off x="626533" y="2724150"/>
            <a:ext cx="4174067" cy="496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200">
                <a:solidFill>
                  <a:prstClr val="white"/>
                </a:solidFill>
              </a:rPr>
              <a:t>to actively particip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8172" y="3886200"/>
            <a:ext cx="4116229" cy="1828800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100" baseline="0">
                <a:solidFill>
                  <a:schemeClr val="bg2"/>
                </a:solidFill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laceholder text</a:t>
            </a:r>
          </a:p>
        </p:txBody>
      </p:sp>
    </p:spTree>
    <p:extLst>
      <p:ext uri="{BB962C8B-B14F-4D97-AF65-F5344CB8AC3E}">
        <p14:creationId xmlns:p14="http://schemas.microsoft.com/office/powerpoint/2010/main" val="17535601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ll Multipl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5102659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ltGray">
          <a:xfrm>
            <a:off x="0" y="4379356"/>
            <a:ext cx="541020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638177" y="4468256"/>
            <a:ext cx="3857625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5400">
                <a:solidFill>
                  <a:prstClr val="white"/>
                </a:solidFill>
              </a:rPr>
              <a:t>Pol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638800" y="584200"/>
            <a:ext cx="5943600" cy="1028700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[Type a question here that allows for a multiple answers]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5638800" y="1854201"/>
            <a:ext cx="5943600" cy="3860800"/>
          </a:xfrm>
        </p:spPr>
        <p:txBody>
          <a:bodyPr>
            <a:noAutofit/>
          </a:bodyPr>
          <a:lstStyle>
            <a:lvl1pPr marL="457182" marR="0" indent="-457182" algn="l" defTabSz="914363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Tx/>
              <a:buFont typeface="+mj-lt"/>
              <a:buAutoNum type="alphaLcPeriod"/>
              <a:tabLst/>
              <a:defRPr sz="1800"/>
            </a:lvl1pPr>
            <a:lvl2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2pPr>
            <a:lvl3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3pPr>
            <a:lvl4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4pPr>
            <a:lvl5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5pPr>
            <a:lvl6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6pPr>
            <a:lvl7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7pPr>
            <a:lvl8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8pPr>
            <a:lvl9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9pPr>
          </a:lstStyle>
          <a:p>
            <a:pPr fontAlgn="auto"/>
            <a:r>
              <a:rPr lang="en-US"/>
              <a:t>[answer] Press Enter before typing each additional answer</a:t>
            </a:r>
          </a:p>
        </p:txBody>
      </p:sp>
    </p:spTree>
    <p:extLst>
      <p:ext uri="{BB962C8B-B14F-4D97-AF65-F5344CB8AC3E}">
        <p14:creationId xmlns:p14="http://schemas.microsoft.com/office/powerpoint/2010/main" val="2088080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ussion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" y="8001"/>
            <a:ext cx="12191617" cy="406907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ltGray">
          <a:xfrm>
            <a:off x="-1" y="3889829"/>
            <a:ext cx="4909869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0" y="3889829"/>
            <a:ext cx="47193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Program Updates</a:t>
            </a:r>
          </a:p>
        </p:txBody>
      </p:sp>
    </p:spTree>
    <p:extLst>
      <p:ext uri="{BB962C8B-B14F-4D97-AF65-F5344CB8AC3E}">
        <p14:creationId xmlns:p14="http://schemas.microsoft.com/office/powerpoint/2010/main" val="3201608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cussion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" y="8001"/>
            <a:ext cx="12191617" cy="406907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ltGray">
          <a:xfrm>
            <a:off x="-1" y="3889829"/>
            <a:ext cx="4909869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0" y="3889829"/>
            <a:ext cx="47193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SFDC Update</a:t>
            </a:r>
          </a:p>
        </p:txBody>
      </p:sp>
    </p:spTree>
    <p:extLst>
      <p:ext uri="{BB962C8B-B14F-4D97-AF65-F5344CB8AC3E}">
        <p14:creationId xmlns:p14="http://schemas.microsoft.com/office/powerpoint/2010/main" val="1784544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out Sessions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itle 2"/>
          <p:cNvSpPr txBox="1">
            <a:spLocks/>
          </p:cNvSpPr>
          <p:nvPr/>
        </p:nvSpPr>
        <p:spPr>
          <a:xfrm>
            <a:off x="4400669" y="2678784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6000">
                <a:solidFill>
                  <a:prstClr val="white"/>
                </a:solidFill>
              </a:rPr>
              <a:t>Breakout session</a:t>
            </a: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4432420" y="2299745"/>
            <a:ext cx="6572131" cy="50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00671" y="3962400"/>
            <a:ext cx="6248400" cy="1754188"/>
          </a:xfrm>
        </p:spPr>
        <p:txBody>
          <a:bodyPr wrap="square" anchor="t">
            <a:no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instructions for activity if appropriate]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7" name="Paired discussion"/>
          <p:cNvGrpSpPr/>
          <p:nvPr userDrawn="1"/>
        </p:nvGrpSpPr>
        <p:grpSpPr>
          <a:xfrm>
            <a:off x="2662578" y="2281579"/>
            <a:ext cx="766423" cy="766422"/>
            <a:chOff x="6127254" y="2202852"/>
            <a:chExt cx="766422" cy="766422"/>
          </a:xfrm>
        </p:grpSpPr>
        <p:sp>
          <p:nvSpPr>
            <p:cNvPr id="38" name="Oval 37"/>
            <p:cNvSpPr/>
            <p:nvPr/>
          </p:nvSpPr>
          <p:spPr bwMode="black">
            <a:xfrm>
              <a:off x="6127254" y="22028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9" name="Oval Callout 38"/>
            <p:cNvSpPr/>
            <p:nvPr/>
          </p:nvSpPr>
          <p:spPr bwMode="auto">
            <a:xfrm flipV="1">
              <a:off x="6384086" y="2287737"/>
              <a:ext cx="252759" cy="216936"/>
            </a:xfrm>
            <a:prstGeom prst="wedgeEllipseCallout">
              <a:avLst>
                <a:gd name="adj1" fmla="val 3421"/>
                <a:gd name="adj2" fmla="val -73598"/>
              </a:avLst>
            </a:prstGeom>
            <a:noFill/>
            <a:ln w="22225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 bwMode="black">
            <a:xfrm>
              <a:off x="6270848" y="2545089"/>
              <a:ext cx="497735" cy="234978"/>
              <a:chOff x="1193797" y="868129"/>
              <a:chExt cx="497735" cy="234978"/>
            </a:xfrm>
          </p:grpSpPr>
          <p:sp>
            <p:nvSpPr>
              <p:cNvPr id="41" name="Freeform 40"/>
              <p:cNvSpPr/>
              <p:nvPr/>
            </p:nvSpPr>
            <p:spPr bwMode="black">
              <a:xfrm>
                <a:off x="1459101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41"/>
              <p:cNvSpPr/>
              <p:nvPr/>
            </p:nvSpPr>
            <p:spPr bwMode="black">
              <a:xfrm>
                <a:off x="1193797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0812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eedback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028406"/>
            <a:ext cx="9144000" cy="927894"/>
          </a:xfrm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Insert question if appropriat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7384"/>
            <a:ext cx="12192000" cy="410445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invGray">
          <a:xfrm>
            <a:off x="0" y="3889829"/>
            <a:ext cx="4639573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-171450" y="3889829"/>
            <a:ext cx="463957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Marketing Updates</a:t>
            </a:r>
          </a:p>
        </p:txBody>
      </p:sp>
    </p:spTree>
    <p:extLst>
      <p:ext uri="{BB962C8B-B14F-4D97-AF65-F5344CB8AC3E}">
        <p14:creationId xmlns:p14="http://schemas.microsoft.com/office/powerpoint/2010/main" val="1220961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out Sessions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itle 2"/>
          <p:cNvSpPr txBox="1">
            <a:spLocks/>
          </p:cNvSpPr>
          <p:nvPr/>
        </p:nvSpPr>
        <p:spPr>
          <a:xfrm>
            <a:off x="4400669" y="2678784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6000">
                <a:solidFill>
                  <a:prstClr val="white"/>
                </a:solidFill>
              </a:rPr>
              <a:t>Breakout session</a:t>
            </a: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4432420" y="2299745"/>
            <a:ext cx="6572131" cy="50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00671" y="3962400"/>
            <a:ext cx="6248400" cy="1754188"/>
          </a:xfrm>
        </p:spPr>
        <p:txBody>
          <a:bodyPr wrap="square" anchor="t">
            <a:no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instructions for activity if appropriate]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7" name="Paired discussion"/>
          <p:cNvGrpSpPr/>
          <p:nvPr userDrawn="1"/>
        </p:nvGrpSpPr>
        <p:grpSpPr>
          <a:xfrm>
            <a:off x="2662578" y="2281579"/>
            <a:ext cx="766423" cy="766422"/>
            <a:chOff x="6127254" y="2202852"/>
            <a:chExt cx="766422" cy="766422"/>
          </a:xfrm>
        </p:grpSpPr>
        <p:sp>
          <p:nvSpPr>
            <p:cNvPr id="38" name="Oval 37"/>
            <p:cNvSpPr/>
            <p:nvPr/>
          </p:nvSpPr>
          <p:spPr bwMode="black">
            <a:xfrm>
              <a:off x="6127254" y="22028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9" name="Oval Callout 38"/>
            <p:cNvSpPr/>
            <p:nvPr/>
          </p:nvSpPr>
          <p:spPr bwMode="auto">
            <a:xfrm flipV="1">
              <a:off x="6384086" y="2287737"/>
              <a:ext cx="252759" cy="216936"/>
            </a:xfrm>
            <a:prstGeom prst="wedgeEllipseCallout">
              <a:avLst>
                <a:gd name="adj1" fmla="val 3421"/>
                <a:gd name="adj2" fmla="val -73598"/>
              </a:avLst>
            </a:prstGeom>
            <a:noFill/>
            <a:ln w="22225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 bwMode="black">
            <a:xfrm>
              <a:off x="6270848" y="2545089"/>
              <a:ext cx="497735" cy="234978"/>
              <a:chOff x="1193797" y="868129"/>
              <a:chExt cx="497735" cy="234978"/>
            </a:xfrm>
          </p:grpSpPr>
          <p:sp>
            <p:nvSpPr>
              <p:cNvPr id="41" name="Freeform 40"/>
              <p:cNvSpPr/>
              <p:nvPr/>
            </p:nvSpPr>
            <p:spPr bwMode="black">
              <a:xfrm>
                <a:off x="1459101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41"/>
              <p:cNvSpPr/>
              <p:nvPr/>
            </p:nvSpPr>
            <p:spPr bwMode="black">
              <a:xfrm>
                <a:off x="1193797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65472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out 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[Breakout session instructions]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9" y="1524000"/>
            <a:ext cx="7300381" cy="4497389"/>
          </a:xfrm>
        </p:spPr>
        <p:txBody>
          <a:bodyPr/>
          <a:lstStyle>
            <a:lvl1pPr marL="342886" indent="-342886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100"/>
            </a:lvl1pPr>
            <a:lvl2pPr marL="700060" indent="-342886">
              <a:buFont typeface="+mj-lt"/>
              <a:buAutoNum type="arabicPeriod"/>
              <a:defRPr sz="1800"/>
            </a:lvl2pPr>
            <a:lvl3pPr marL="966749" indent="-342886">
              <a:buFont typeface="+mj-lt"/>
              <a:buAutoNum type="arabicPeriod"/>
              <a:defRPr sz="1500"/>
            </a:lvl3pPr>
            <a:lvl4pPr>
              <a:buFont typeface="+mj-lt"/>
              <a:buAutoNum type="arabicPeriod"/>
              <a:defRPr sz="1400"/>
            </a:lvl4pPr>
            <a:lvl5pPr>
              <a:buFont typeface="+mj-lt"/>
              <a:buAutoNum type="arabicPeriod"/>
              <a:defRPr sz="1400"/>
            </a:lvl5pPr>
          </a:lstStyle>
          <a:p>
            <a:pPr lvl="0"/>
            <a:r>
              <a:rPr lang="en-US"/>
              <a:t>[Insert step]</a:t>
            </a:r>
            <a:endParaRPr lang="en-GB"/>
          </a:p>
        </p:txBody>
      </p:sp>
      <p:sp>
        <p:nvSpPr>
          <p:cNvPr id="10" name="Text Placeholder 2"/>
          <p:cNvSpPr txBox="1">
            <a:spLocks/>
          </p:cNvSpPr>
          <p:nvPr userDrawn="1"/>
        </p:nvSpPr>
        <p:spPr>
          <a:xfrm>
            <a:off x="9742889" y="2597150"/>
            <a:ext cx="2073524" cy="2984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2100">
                <a:solidFill>
                  <a:prstClr val="black"/>
                </a:solidFill>
              </a:rPr>
              <a:t>Total time:</a:t>
            </a:r>
            <a:endParaRPr lang="en-US" sz="2100" b="1">
              <a:solidFill>
                <a:srgbClr val="10CF9B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952143" y="2900680"/>
            <a:ext cx="1665183" cy="37719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XX minutes</a:t>
            </a:r>
          </a:p>
        </p:txBody>
      </p:sp>
      <p:grpSp>
        <p:nvGrpSpPr>
          <p:cNvPr id="13" name="Stopwatch"/>
          <p:cNvGrpSpPr/>
          <p:nvPr userDrawn="1"/>
        </p:nvGrpSpPr>
        <p:grpSpPr>
          <a:xfrm>
            <a:off x="10419329" y="1551316"/>
            <a:ext cx="766423" cy="766422"/>
            <a:chOff x="7113229" y="3790352"/>
            <a:chExt cx="766422" cy="766422"/>
          </a:xfrm>
        </p:grpSpPr>
        <p:sp>
          <p:nvSpPr>
            <p:cNvPr id="14" name="Oval 13"/>
            <p:cNvSpPr/>
            <p:nvPr/>
          </p:nvSpPr>
          <p:spPr bwMode="auto">
            <a:xfrm>
              <a:off x="7113229" y="37903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7275459" y="3886586"/>
              <a:ext cx="443873" cy="545379"/>
              <a:chOff x="5020705" y="3838058"/>
              <a:chExt cx="557977" cy="685577"/>
            </a:xfrm>
            <a:solidFill>
              <a:schemeClr val="accent2"/>
            </a:solidFill>
          </p:grpSpPr>
          <p:sp>
            <p:nvSpPr>
              <p:cNvPr id="16" name="Freeform 338"/>
              <p:cNvSpPr>
                <a:spLocks noEditPoints="1"/>
              </p:cNvSpPr>
              <p:nvPr/>
            </p:nvSpPr>
            <p:spPr bwMode="auto">
              <a:xfrm>
                <a:off x="5236975" y="4028376"/>
                <a:ext cx="125437" cy="278989"/>
              </a:xfrm>
              <a:custGeom>
                <a:avLst/>
                <a:gdLst>
                  <a:gd name="T0" fmla="*/ 24 w 40"/>
                  <a:gd name="T1" fmla="*/ 48 h 88"/>
                  <a:gd name="T2" fmla="*/ 24 w 40"/>
                  <a:gd name="T3" fmla="*/ 4 h 88"/>
                  <a:gd name="T4" fmla="*/ 20 w 40"/>
                  <a:gd name="T5" fmla="*/ 0 h 88"/>
                  <a:gd name="T6" fmla="*/ 16 w 40"/>
                  <a:gd name="T7" fmla="*/ 4 h 88"/>
                  <a:gd name="T8" fmla="*/ 16 w 40"/>
                  <a:gd name="T9" fmla="*/ 48 h 88"/>
                  <a:gd name="T10" fmla="*/ 0 w 40"/>
                  <a:gd name="T11" fmla="*/ 68 h 88"/>
                  <a:gd name="T12" fmla="*/ 20 w 40"/>
                  <a:gd name="T13" fmla="*/ 88 h 88"/>
                  <a:gd name="T14" fmla="*/ 40 w 40"/>
                  <a:gd name="T15" fmla="*/ 68 h 88"/>
                  <a:gd name="T16" fmla="*/ 24 w 40"/>
                  <a:gd name="T17" fmla="*/ 48 h 88"/>
                  <a:gd name="T18" fmla="*/ 20 w 40"/>
                  <a:gd name="T19" fmla="*/ 80 h 88"/>
                  <a:gd name="T20" fmla="*/ 8 w 40"/>
                  <a:gd name="T21" fmla="*/ 68 h 88"/>
                  <a:gd name="T22" fmla="*/ 20 w 40"/>
                  <a:gd name="T23" fmla="*/ 56 h 88"/>
                  <a:gd name="T24" fmla="*/ 32 w 40"/>
                  <a:gd name="T25" fmla="*/ 68 h 88"/>
                  <a:gd name="T26" fmla="*/ 20 w 40"/>
                  <a:gd name="T27" fmla="*/ 8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88">
                    <a:moveTo>
                      <a:pt x="24" y="48"/>
                    </a:moveTo>
                    <a:cubicBezTo>
                      <a:pt x="24" y="4"/>
                      <a:pt x="24" y="4"/>
                      <a:pt x="24" y="4"/>
                    </a:cubicBezTo>
                    <a:cubicBezTo>
                      <a:pt x="24" y="2"/>
                      <a:pt x="22" y="0"/>
                      <a:pt x="20" y="0"/>
                    </a:cubicBezTo>
                    <a:cubicBezTo>
                      <a:pt x="18" y="0"/>
                      <a:pt x="16" y="2"/>
                      <a:pt x="16" y="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7" y="50"/>
                      <a:pt x="0" y="58"/>
                      <a:pt x="0" y="68"/>
                    </a:cubicBezTo>
                    <a:cubicBezTo>
                      <a:pt x="0" y="79"/>
                      <a:pt x="9" y="88"/>
                      <a:pt x="20" y="88"/>
                    </a:cubicBezTo>
                    <a:cubicBezTo>
                      <a:pt x="31" y="88"/>
                      <a:pt x="40" y="79"/>
                      <a:pt x="40" y="68"/>
                    </a:cubicBezTo>
                    <a:cubicBezTo>
                      <a:pt x="40" y="58"/>
                      <a:pt x="33" y="50"/>
                      <a:pt x="24" y="48"/>
                    </a:cubicBezTo>
                    <a:close/>
                    <a:moveTo>
                      <a:pt x="20" y="80"/>
                    </a:moveTo>
                    <a:cubicBezTo>
                      <a:pt x="13" y="80"/>
                      <a:pt x="8" y="75"/>
                      <a:pt x="8" y="68"/>
                    </a:cubicBezTo>
                    <a:cubicBezTo>
                      <a:pt x="8" y="61"/>
                      <a:pt x="13" y="56"/>
                      <a:pt x="20" y="56"/>
                    </a:cubicBezTo>
                    <a:cubicBezTo>
                      <a:pt x="27" y="56"/>
                      <a:pt x="32" y="61"/>
                      <a:pt x="32" y="68"/>
                    </a:cubicBezTo>
                    <a:cubicBezTo>
                      <a:pt x="32" y="75"/>
                      <a:pt x="27" y="80"/>
                      <a:pt x="20" y="8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339"/>
              <p:cNvSpPr>
                <a:spLocks noEditPoints="1"/>
              </p:cNvSpPr>
              <p:nvPr/>
            </p:nvSpPr>
            <p:spPr bwMode="auto">
              <a:xfrm>
                <a:off x="5020705" y="3959169"/>
                <a:ext cx="557977" cy="564466"/>
              </a:xfrm>
              <a:custGeom>
                <a:avLst/>
                <a:gdLst>
                  <a:gd name="T0" fmla="*/ 158 w 176"/>
                  <a:gd name="T1" fmla="*/ 37 h 178"/>
                  <a:gd name="T2" fmla="*/ 159 w 176"/>
                  <a:gd name="T3" fmla="*/ 37 h 178"/>
                  <a:gd name="T4" fmla="*/ 169 w 176"/>
                  <a:gd name="T5" fmla="*/ 26 h 178"/>
                  <a:gd name="T6" fmla="*/ 169 w 176"/>
                  <a:gd name="T7" fmla="*/ 10 h 178"/>
                  <a:gd name="T8" fmla="*/ 164 w 176"/>
                  <a:gd name="T9" fmla="*/ 5 h 178"/>
                  <a:gd name="T10" fmla="*/ 148 w 176"/>
                  <a:gd name="T11" fmla="*/ 5 h 178"/>
                  <a:gd name="T12" fmla="*/ 137 w 176"/>
                  <a:gd name="T13" fmla="*/ 15 h 178"/>
                  <a:gd name="T14" fmla="*/ 136 w 176"/>
                  <a:gd name="T15" fmla="*/ 16 h 178"/>
                  <a:gd name="T16" fmla="*/ 88 w 176"/>
                  <a:gd name="T17" fmla="*/ 2 h 178"/>
                  <a:gd name="T18" fmla="*/ 0 w 176"/>
                  <a:gd name="T19" fmla="*/ 90 h 178"/>
                  <a:gd name="T20" fmla="*/ 88 w 176"/>
                  <a:gd name="T21" fmla="*/ 178 h 178"/>
                  <a:gd name="T22" fmla="*/ 176 w 176"/>
                  <a:gd name="T23" fmla="*/ 90 h 178"/>
                  <a:gd name="T24" fmla="*/ 158 w 176"/>
                  <a:gd name="T25" fmla="*/ 37 h 178"/>
                  <a:gd name="T26" fmla="*/ 143 w 176"/>
                  <a:gd name="T27" fmla="*/ 21 h 178"/>
                  <a:gd name="T28" fmla="*/ 153 w 176"/>
                  <a:gd name="T29" fmla="*/ 10 h 178"/>
                  <a:gd name="T30" fmla="*/ 159 w 176"/>
                  <a:gd name="T31" fmla="*/ 10 h 178"/>
                  <a:gd name="T32" fmla="*/ 164 w 176"/>
                  <a:gd name="T33" fmla="*/ 15 h 178"/>
                  <a:gd name="T34" fmla="*/ 164 w 176"/>
                  <a:gd name="T35" fmla="*/ 21 h 178"/>
                  <a:gd name="T36" fmla="*/ 153 w 176"/>
                  <a:gd name="T37" fmla="*/ 31 h 178"/>
                  <a:gd name="T38" fmla="*/ 143 w 176"/>
                  <a:gd name="T39" fmla="*/ 21 h 178"/>
                  <a:gd name="T40" fmla="*/ 143 w 176"/>
                  <a:gd name="T41" fmla="*/ 21 h 178"/>
                  <a:gd name="T42" fmla="*/ 88 w 176"/>
                  <a:gd name="T43" fmla="*/ 170 h 178"/>
                  <a:gd name="T44" fmla="*/ 8 w 176"/>
                  <a:gd name="T45" fmla="*/ 90 h 178"/>
                  <a:gd name="T46" fmla="*/ 88 w 176"/>
                  <a:gd name="T47" fmla="*/ 10 h 178"/>
                  <a:gd name="T48" fmla="*/ 168 w 176"/>
                  <a:gd name="T49" fmla="*/ 90 h 178"/>
                  <a:gd name="T50" fmla="*/ 88 w 176"/>
                  <a:gd name="T51" fmla="*/ 17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6" h="178">
                    <a:moveTo>
                      <a:pt x="158" y="37"/>
                    </a:moveTo>
                    <a:cubicBezTo>
                      <a:pt x="158" y="37"/>
                      <a:pt x="159" y="37"/>
                      <a:pt x="159" y="37"/>
                    </a:cubicBezTo>
                    <a:cubicBezTo>
                      <a:pt x="169" y="26"/>
                      <a:pt x="169" y="26"/>
                      <a:pt x="169" y="26"/>
                    </a:cubicBezTo>
                    <a:cubicBezTo>
                      <a:pt x="174" y="22"/>
                      <a:pt x="174" y="14"/>
                      <a:pt x="169" y="10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0" y="0"/>
                      <a:pt x="152" y="0"/>
                      <a:pt x="148" y="5"/>
                    </a:cubicBezTo>
                    <a:cubicBezTo>
                      <a:pt x="137" y="15"/>
                      <a:pt x="137" y="15"/>
                      <a:pt x="137" y="15"/>
                    </a:cubicBezTo>
                    <a:cubicBezTo>
                      <a:pt x="137" y="16"/>
                      <a:pt x="136" y="16"/>
                      <a:pt x="136" y="16"/>
                    </a:cubicBezTo>
                    <a:cubicBezTo>
                      <a:pt x="122" y="7"/>
                      <a:pt x="106" y="2"/>
                      <a:pt x="88" y="2"/>
                    </a:cubicBezTo>
                    <a:cubicBezTo>
                      <a:pt x="39" y="2"/>
                      <a:pt x="0" y="41"/>
                      <a:pt x="0" y="90"/>
                    </a:cubicBezTo>
                    <a:cubicBezTo>
                      <a:pt x="0" y="139"/>
                      <a:pt x="39" y="178"/>
                      <a:pt x="88" y="178"/>
                    </a:cubicBezTo>
                    <a:cubicBezTo>
                      <a:pt x="137" y="178"/>
                      <a:pt x="176" y="139"/>
                      <a:pt x="176" y="90"/>
                    </a:cubicBezTo>
                    <a:cubicBezTo>
                      <a:pt x="176" y="70"/>
                      <a:pt x="169" y="52"/>
                      <a:pt x="158" y="37"/>
                    </a:cubicBezTo>
                    <a:close/>
                    <a:moveTo>
                      <a:pt x="143" y="21"/>
                    </a:moveTo>
                    <a:cubicBezTo>
                      <a:pt x="153" y="10"/>
                      <a:pt x="153" y="10"/>
                      <a:pt x="153" y="10"/>
                    </a:cubicBezTo>
                    <a:cubicBezTo>
                      <a:pt x="155" y="9"/>
                      <a:pt x="157" y="9"/>
                      <a:pt x="159" y="10"/>
                    </a:cubicBezTo>
                    <a:cubicBezTo>
                      <a:pt x="164" y="15"/>
                      <a:pt x="164" y="15"/>
                      <a:pt x="164" y="15"/>
                    </a:cubicBezTo>
                    <a:cubicBezTo>
                      <a:pt x="165" y="17"/>
                      <a:pt x="165" y="19"/>
                      <a:pt x="164" y="21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150" y="27"/>
                      <a:pt x="146" y="24"/>
                      <a:pt x="143" y="21"/>
                    </a:cubicBezTo>
                    <a:cubicBezTo>
                      <a:pt x="143" y="21"/>
                      <a:pt x="143" y="21"/>
                      <a:pt x="143" y="21"/>
                    </a:cubicBezTo>
                    <a:close/>
                    <a:moveTo>
                      <a:pt x="88" y="170"/>
                    </a:moveTo>
                    <a:cubicBezTo>
                      <a:pt x="44" y="170"/>
                      <a:pt x="8" y="134"/>
                      <a:pt x="8" y="90"/>
                    </a:cubicBezTo>
                    <a:cubicBezTo>
                      <a:pt x="8" y="46"/>
                      <a:pt x="44" y="10"/>
                      <a:pt x="88" y="10"/>
                    </a:cubicBezTo>
                    <a:cubicBezTo>
                      <a:pt x="132" y="10"/>
                      <a:pt x="168" y="46"/>
                      <a:pt x="168" y="90"/>
                    </a:cubicBezTo>
                    <a:cubicBezTo>
                      <a:pt x="168" y="134"/>
                      <a:pt x="132" y="170"/>
                      <a:pt x="88" y="1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340"/>
              <p:cNvSpPr>
                <a:spLocks noEditPoints="1"/>
              </p:cNvSpPr>
              <p:nvPr/>
            </p:nvSpPr>
            <p:spPr bwMode="auto">
              <a:xfrm>
                <a:off x="5211023" y="3838058"/>
                <a:ext cx="177342" cy="101648"/>
              </a:xfrm>
              <a:custGeom>
                <a:avLst/>
                <a:gdLst>
                  <a:gd name="T0" fmla="*/ 12 w 56"/>
                  <a:gd name="T1" fmla="*/ 32 h 32"/>
                  <a:gd name="T2" fmla="*/ 44 w 56"/>
                  <a:gd name="T3" fmla="*/ 32 h 32"/>
                  <a:gd name="T4" fmla="*/ 44 w 56"/>
                  <a:gd name="T5" fmla="*/ 32 h 32"/>
                  <a:gd name="T6" fmla="*/ 56 w 56"/>
                  <a:gd name="T7" fmla="*/ 20 h 32"/>
                  <a:gd name="T8" fmla="*/ 56 w 56"/>
                  <a:gd name="T9" fmla="*/ 16 h 32"/>
                  <a:gd name="T10" fmla="*/ 45 w 56"/>
                  <a:gd name="T11" fmla="*/ 2 h 32"/>
                  <a:gd name="T12" fmla="*/ 11 w 56"/>
                  <a:gd name="T13" fmla="*/ 2 h 32"/>
                  <a:gd name="T14" fmla="*/ 0 w 56"/>
                  <a:gd name="T15" fmla="*/ 16 h 32"/>
                  <a:gd name="T16" fmla="*/ 0 w 56"/>
                  <a:gd name="T17" fmla="*/ 20 h 32"/>
                  <a:gd name="T18" fmla="*/ 12 w 56"/>
                  <a:gd name="T19" fmla="*/ 32 h 32"/>
                  <a:gd name="T20" fmla="*/ 8 w 56"/>
                  <a:gd name="T21" fmla="*/ 16 h 32"/>
                  <a:gd name="T22" fmla="*/ 13 w 56"/>
                  <a:gd name="T23" fmla="*/ 10 h 32"/>
                  <a:gd name="T24" fmla="*/ 28 w 56"/>
                  <a:gd name="T25" fmla="*/ 8 h 32"/>
                  <a:gd name="T26" fmla="*/ 43 w 56"/>
                  <a:gd name="T27" fmla="*/ 10 h 32"/>
                  <a:gd name="T28" fmla="*/ 48 w 56"/>
                  <a:gd name="T29" fmla="*/ 16 h 32"/>
                  <a:gd name="T30" fmla="*/ 48 w 56"/>
                  <a:gd name="T31" fmla="*/ 20 h 32"/>
                  <a:gd name="T32" fmla="*/ 44 w 56"/>
                  <a:gd name="T33" fmla="*/ 24 h 32"/>
                  <a:gd name="T34" fmla="*/ 12 w 56"/>
                  <a:gd name="T35" fmla="*/ 24 h 32"/>
                  <a:gd name="T36" fmla="*/ 8 w 56"/>
                  <a:gd name="T37" fmla="*/ 20 h 32"/>
                  <a:gd name="T38" fmla="*/ 8 w 56"/>
                  <a:gd name="T3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" h="32">
                    <a:moveTo>
                      <a:pt x="12" y="32"/>
                    </a:move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51" y="32"/>
                      <a:pt x="56" y="26"/>
                      <a:pt x="56" y="20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10"/>
                      <a:pt x="51" y="3"/>
                      <a:pt x="45" y="2"/>
                    </a:cubicBezTo>
                    <a:cubicBezTo>
                      <a:pt x="34" y="0"/>
                      <a:pt x="22" y="0"/>
                      <a:pt x="11" y="2"/>
                    </a:cubicBezTo>
                    <a:cubicBezTo>
                      <a:pt x="5" y="3"/>
                      <a:pt x="0" y="10"/>
                      <a:pt x="0" y="1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6"/>
                      <a:pt x="5" y="32"/>
                      <a:pt x="12" y="32"/>
                    </a:cubicBezTo>
                    <a:close/>
                    <a:moveTo>
                      <a:pt x="8" y="16"/>
                    </a:moveTo>
                    <a:cubicBezTo>
                      <a:pt x="8" y="13"/>
                      <a:pt x="10" y="10"/>
                      <a:pt x="13" y="10"/>
                    </a:cubicBezTo>
                    <a:cubicBezTo>
                      <a:pt x="18" y="9"/>
                      <a:pt x="23" y="8"/>
                      <a:pt x="28" y="8"/>
                    </a:cubicBezTo>
                    <a:cubicBezTo>
                      <a:pt x="33" y="8"/>
                      <a:pt x="38" y="9"/>
                      <a:pt x="43" y="10"/>
                    </a:cubicBezTo>
                    <a:cubicBezTo>
                      <a:pt x="46" y="10"/>
                      <a:pt x="48" y="13"/>
                      <a:pt x="48" y="16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2"/>
                      <a:pt x="46" y="24"/>
                      <a:pt x="44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0" y="24"/>
                      <a:pt x="8" y="22"/>
                      <a:pt x="8" y="20"/>
                    </a:cubicBezTo>
                    <a:lnTo>
                      <a:pt x="8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341"/>
              <p:cNvSpPr>
                <a:spLocks/>
              </p:cNvSpPr>
              <p:nvPr/>
            </p:nvSpPr>
            <p:spPr bwMode="auto">
              <a:xfrm>
                <a:off x="5072610" y="4231670"/>
                <a:ext cx="49743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342"/>
              <p:cNvSpPr>
                <a:spLocks/>
              </p:cNvSpPr>
              <p:nvPr/>
            </p:nvSpPr>
            <p:spPr bwMode="auto">
              <a:xfrm>
                <a:off x="5477034" y="4231670"/>
                <a:ext cx="51905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343"/>
              <p:cNvSpPr>
                <a:spLocks/>
              </p:cNvSpPr>
              <p:nvPr/>
            </p:nvSpPr>
            <p:spPr bwMode="auto">
              <a:xfrm>
                <a:off x="5286717" y="4421987"/>
                <a:ext cx="25952" cy="5190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5276132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ctivity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itle 2"/>
          <p:cNvSpPr txBox="1">
            <a:spLocks/>
          </p:cNvSpPr>
          <p:nvPr/>
        </p:nvSpPr>
        <p:spPr>
          <a:xfrm>
            <a:off x="4400669" y="2421782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6000">
                <a:solidFill>
                  <a:prstClr val="white"/>
                </a:solidFill>
              </a:rPr>
              <a:t>Activity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00671" y="3962400"/>
            <a:ext cx="6248400" cy="1754188"/>
          </a:xfrm>
        </p:spPr>
        <p:txBody>
          <a:bodyPr wrap="square" anchor="t">
            <a:no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instructions for activity if appropriate]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Paired practice"/>
          <p:cNvGrpSpPr/>
          <p:nvPr userDrawn="1"/>
        </p:nvGrpSpPr>
        <p:grpSpPr>
          <a:xfrm>
            <a:off x="2662578" y="2286001"/>
            <a:ext cx="766423" cy="766422"/>
            <a:chOff x="609443" y="3790352"/>
            <a:chExt cx="766422" cy="766422"/>
          </a:xfrm>
        </p:grpSpPr>
        <p:grpSp>
          <p:nvGrpSpPr>
            <p:cNvPr id="23" name="Group 22"/>
            <p:cNvGrpSpPr/>
            <p:nvPr/>
          </p:nvGrpSpPr>
          <p:grpSpPr>
            <a:xfrm>
              <a:off x="609443" y="3790352"/>
              <a:ext cx="766422" cy="766422"/>
              <a:chOff x="10380717" y="2454745"/>
              <a:chExt cx="2442023" cy="2442023"/>
            </a:xfrm>
          </p:grpSpPr>
          <p:sp>
            <p:nvSpPr>
              <p:cNvPr id="26" name="Oval 25"/>
              <p:cNvSpPr/>
              <p:nvPr/>
            </p:nvSpPr>
            <p:spPr bwMode="black">
              <a:xfrm>
                <a:off x="10380717" y="2454745"/>
                <a:ext cx="2442023" cy="2442023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10883774" y="2868095"/>
                <a:ext cx="1326026" cy="1277661"/>
                <a:chOff x="10883774" y="2868095"/>
                <a:chExt cx="1326026" cy="1277661"/>
              </a:xfrm>
            </p:grpSpPr>
            <p:sp>
              <p:nvSpPr>
                <p:cNvPr id="28" name="Freeform 27"/>
                <p:cNvSpPr/>
                <p:nvPr/>
              </p:nvSpPr>
              <p:spPr bwMode="black">
                <a:xfrm>
                  <a:off x="11525818" y="2868095"/>
                  <a:ext cx="683982" cy="557479"/>
                </a:xfrm>
                <a:custGeom>
                  <a:avLst/>
                  <a:gdLst>
                    <a:gd name="connsiteX0" fmla="*/ 341991 w 683982"/>
                    <a:gd name="connsiteY0" fmla="*/ 0 h 557479"/>
                    <a:gd name="connsiteX1" fmla="*/ 526795 w 683982"/>
                    <a:gd name="connsiteY1" fmla="*/ 184805 h 557479"/>
                    <a:gd name="connsiteX2" fmla="*/ 472667 w 683982"/>
                    <a:gd name="connsiteY2" fmla="*/ 315481 h 557479"/>
                    <a:gd name="connsiteX3" fmla="*/ 445382 w 683982"/>
                    <a:gd name="connsiteY3" fmla="*/ 337994 h 557479"/>
                    <a:gd name="connsiteX4" fmla="*/ 486126 w 683982"/>
                    <a:gd name="connsiteY4" fmla="*/ 350641 h 557479"/>
                    <a:gd name="connsiteX5" fmla="*/ 649044 w 683982"/>
                    <a:gd name="connsiteY5" fmla="*/ 484801 h 557479"/>
                    <a:gd name="connsiteX6" fmla="*/ 683982 w 683982"/>
                    <a:gd name="connsiteY6" fmla="*/ 557479 h 557479"/>
                    <a:gd name="connsiteX7" fmla="*/ 0 w 683982"/>
                    <a:gd name="connsiteY7" fmla="*/ 557479 h 557479"/>
                    <a:gd name="connsiteX8" fmla="*/ 34938 w 683982"/>
                    <a:gd name="connsiteY8" fmla="*/ 484801 h 557479"/>
                    <a:gd name="connsiteX9" fmla="*/ 197856 w 683982"/>
                    <a:gd name="connsiteY9" fmla="*/ 350641 h 557479"/>
                    <a:gd name="connsiteX10" fmla="*/ 238601 w 683982"/>
                    <a:gd name="connsiteY10" fmla="*/ 337994 h 557479"/>
                    <a:gd name="connsiteX11" fmla="*/ 211315 w 683982"/>
                    <a:gd name="connsiteY11" fmla="*/ 315481 h 557479"/>
                    <a:gd name="connsiteX12" fmla="*/ 157187 w 683982"/>
                    <a:gd name="connsiteY12" fmla="*/ 184805 h 557479"/>
                    <a:gd name="connsiteX13" fmla="*/ 341991 w 683982"/>
                    <a:gd name="connsiteY13" fmla="*/ 0 h 557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683982" h="557479">
                      <a:moveTo>
                        <a:pt x="341991" y="0"/>
                      </a:moveTo>
                      <a:cubicBezTo>
                        <a:pt x="444055" y="0"/>
                        <a:pt x="526795" y="82740"/>
                        <a:pt x="526795" y="184805"/>
                      </a:cubicBezTo>
                      <a:cubicBezTo>
                        <a:pt x="526795" y="235837"/>
                        <a:pt x="506110" y="282038"/>
                        <a:pt x="472667" y="315481"/>
                      </a:cubicBezTo>
                      <a:lnTo>
                        <a:pt x="445382" y="337994"/>
                      </a:lnTo>
                      <a:lnTo>
                        <a:pt x="486126" y="350641"/>
                      </a:lnTo>
                      <a:cubicBezTo>
                        <a:pt x="552578" y="378748"/>
                        <a:pt x="609118" y="425702"/>
                        <a:pt x="649044" y="484801"/>
                      </a:cubicBezTo>
                      <a:lnTo>
                        <a:pt x="683982" y="557479"/>
                      </a:lnTo>
                      <a:lnTo>
                        <a:pt x="0" y="557479"/>
                      </a:lnTo>
                      <a:lnTo>
                        <a:pt x="34938" y="484801"/>
                      </a:lnTo>
                      <a:cubicBezTo>
                        <a:pt x="74865" y="425702"/>
                        <a:pt x="131404" y="378748"/>
                        <a:pt x="197856" y="350641"/>
                      </a:cubicBezTo>
                      <a:lnTo>
                        <a:pt x="238601" y="337994"/>
                      </a:lnTo>
                      <a:lnTo>
                        <a:pt x="211315" y="315481"/>
                      </a:lnTo>
                      <a:cubicBezTo>
                        <a:pt x="177872" y="282038"/>
                        <a:pt x="157187" y="235837"/>
                        <a:pt x="157187" y="184805"/>
                      </a:cubicBezTo>
                      <a:cubicBezTo>
                        <a:pt x="157187" y="82740"/>
                        <a:pt x="239927" y="0"/>
                        <a:pt x="341991" y="0"/>
                      </a:cubicBezTo>
                      <a:close/>
                    </a:path>
                  </a:pathLst>
                </a:custGeom>
                <a:noFill/>
                <a:ln w="22225" cap="rnd" cmpd="sng" algn="ctr">
                  <a:solidFill>
                    <a:srgbClr val="00549E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kern="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form 28"/>
                <p:cNvSpPr/>
                <p:nvPr/>
              </p:nvSpPr>
              <p:spPr bwMode="black">
                <a:xfrm>
                  <a:off x="10883774" y="3301402"/>
                  <a:ext cx="835202" cy="844354"/>
                </a:xfrm>
                <a:custGeom>
                  <a:avLst/>
                  <a:gdLst>
                    <a:gd name="connsiteX0" fmla="*/ 497270 w 994540"/>
                    <a:gd name="connsiteY0" fmla="*/ 0 h 1005436"/>
                    <a:gd name="connsiteX1" fmla="*/ 745445 w 994540"/>
                    <a:gd name="connsiteY1" fmla="*/ 248175 h 1005436"/>
                    <a:gd name="connsiteX2" fmla="*/ 672756 w 994540"/>
                    <a:gd name="connsiteY2" fmla="*/ 423661 h 1005436"/>
                    <a:gd name="connsiteX3" fmla="*/ 636115 w 994540"/>
                    <a:gd name="connsiteY3" fmla="*/ 453894 h 1005436"/>
                    <a:gd name="connsiteX4" fmla="*/ 690830 w 994540"/>
                    <a:gd name="connsiteY4" fmla="*/ 470878 h 1005436"/>
                    <a:gd name="connsiteX5" fmla="*/ 994540 w 994540"/>
                    <a:gd name="connsiteY5" fmla="*/ 929070 h 1005436"/>
                    <a:gd name="connsiteX6" fmla="*/ 0 w 994540"/>
                    <a:gd name="connsiteY6" fmla="*/ 929070 h 1005436"/>
                    <a:gd name="connsiteX7" fmla="*/ 303710 w 994540"/>
                    <a:gd name="connsiteY7" fmla="*/ 470878 h 1005436"/>
                    <a:gd name="connsiteX8" fmla="*/ 358426 w 994540"/>
                    <a:gd name="connsiteY8" fmla="*/ 453894 h 1005436"/>
                    <a:gd name="connsiteX9" fmla="*/ 321784 w 994540"/>
                    <a:gd name="connsiteY9" fmla="*/ 423661 h 1005436"/>
                    <a:gd name="connsiteX10" fmla="*/ 249095 w 994540"/>
                    <a:gd name="connsiteY10" fmla="*/ 248175 h 1005436"/>
                    <a:gd name="connsiteX11" fmla="*/ 497270 w 994540"/>
                    <a:gd name="connsiteY11" fmla="*/ 0 h 1005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94540" h="1005436">
                      <a:moveTo>
                        <a:pt x="497270" y="0"/>
                      </a:moveTo>
                      <a:cubicBezTo>
                        <a:pt x="634333" y="0"/>
                        <a:pt x="745445" y="111112"/>
                        <a:pt x="745445" y="248175"/>
                      </a:cubicBezTo>
                      <a:cubicBezTo>
                        <a:pt x="745445" y="316706"/>
                        <a:pt x="717667" y="378750"/>
                        <a:pt x="672756" y="423661"/>
                      </a:cubicBezTo>
                      <a:lnTo>
                        <a:pt x="636115" y="453894"/>
                      </a:lnTo>
                      <a:lnTo>
                        <a:pt x="690830" y="470878"/>
                      </a:lnTo>
                      <a:cubicBezTo>
                        <a:pt x="869308" y="546368"/>
                        <a:pt x="994540" y="723094"/>
                        <a:pt x="994540" y="929070"/>
                      </a:cubicBezTo>
                      <a:cubicBezTo>
                        <a:pt x="685252" y="1040195"/>
                        <a:pt x="306113" y="1021145"/>
                        <a:pt x="0" y="929070"/>
                      </a:cubicBezTo>
                      <a:cubicBezTo>
                        <a:pt x="0" y="723094"/>
                        <a:pt x="125232" y="546368"/>
                        <a:pt x="303710" y="470878"/>
                      </a:cubicBezTo>
                      <a:lnTo>
                        <a:pt x="358426" y="453894"/>
                      </a:lnTo>
                      <a:lnTo>
                        <a:pt x="321784" y="423661"/>
                      </a:lnTo>
                      <a:cubicBezTo>
                        <a:pt x="276873" y="378750"/>
                        <a:pt x="249095" y="316706"/>
                        <a:pt x="249095" y="248175"/>
                      </a:cubicBezTo>
                      <a:cubicBezTo>
                        <a:pt x="249095" y="111112"/>
                        <a:pt x="360207" y="0"/>
                        <a:pt x="497270" y="0"/>
                      </a:cubicBezTo>
                      <a:close/>
                    </a:path>
                  </a:pathLst>
                </a:custGeom>
                <a:noFill/>
                <a:ln w="22225" cap="rnd" cmpd="sng" algn="ctr">
                  <a:solidFill>
                    <a:srgbClr val="00549E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kern="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4" name="Freeform 23"/>
            <p:cNvSpPr/>
            <p:nvPr/>
          </p:nvSpPr>
          <p:spPr>
            <a:xfrm>
              <a:off x="966788" y="4095750"/>
              <a:ext cx="338137" cy="152400"/>
            </a:xfrm>
            <a:custGeom>
              <a:avLst/>
              <a:gdLst>
                <a:gd name="connsiteX0" fmla="*/ 0 w 338137"/>
                <a:gd name="connsiteY0" fmla="*/ 0 h 152400"/>
                <a:gd name="connsiteX1" fmla="*/ 338137 w 338137"/>
                <a:gd name="connsiteY1" fmla="*/ 0 h 152400"/>
                <a:gd name="connsiteX2" fmla="*/ 107156 w 338137"/>
                <a:gd name="connsiteY2" fmla="*/ 152400 h 152400"/>
                <a:gd name="connsiteX3" fmla="*/ 57150 w 338137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137" h="152400">
                  <a:moveTo>
                    <a:pt x="0" y="0"/>
                  </a:moveTo>
                  <a:lnTo>
                    <a:pt x="338137" y="0"/>
                  </a:lnTo>
                  <a:lnTo>
                    <a:pt x="107156" y="152400"/>
                  </a:lnTo>
                  <a:lnTo>
                    <a:pt x="57150" y="152400"/>
                  </a:lnTo>
                </a:path>
              </a:pathLst>
            </a:custGeom>
            <a:noFill/>
            <a:ln w="22225" cap="rnd" cmpd="sng" algn="ctr">
              <a:solidFill>
                <a:srgbClr val="00549E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kern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667272" y="4133850"/>
              <a:ext cx="161925" cy="114300"/>
            </a:xfrm>
            <a:custGeom>
              <a:avLst/>
              <a:gdLst>
                <a:gd name="connsiteX0" fmla="*/ 104775 w 161925"/>
                <a:gd name="connsiteY0" fmla="*/ 114300 h 114300"/>
                <a:gd name="connsiteX1" fmla="*/ 0 w 161925"/>
                <a:gd name="connsiteY1" fmla="*/ 114300 h 114300"/>
                <a:gd name="connsiteX2" fmla="*/ 161925 w 161925"/>
                <a:gd name="connsiteY2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4300">
                  <a:moveTo>
                    <a:pt x="104775" y="114300"/>
                  </a:moveTo>
                  <a:lnTo>
                    <a:pt x="0" y="114300"/>
                  </a:lnTo>
                  <a:lnTo>
                    <a:pt x="161925" y="0"/>
                  </a:lnTo>
                </a:path>
              </a:pathLst>
            </a:custGeom>
            <a:noFill/>
            <a:ln w="22225" cap="rnd" cmpd="sng" algn="ctr">
              <a:solidFill>
                <a:srgbClr val="00549E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kern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89068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ctivity 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 txBox="1">
            <a:spLocks/>
          </p:cNvSpPr>
          <p:nvPr/>
        </p:nvSpPr>
        <p:spPr>
          <a:xfrm>
            <a:off x="9742889" y="2597150"/>
            <a:ext cx="2073524" cy="2984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2100">
                <a:solidFill>
                  <a:prstClr val="black"/>
                </a:solidFill>
              </a:rPr>
              <a:t>Total time:</a:t>
            </a:r>
            <a:endParaRPr lang="en-US" sz="2100" b="1">
              <a:solidFill>
                <a:srgbClr val="10CF9B"/>
              </a:solidFill>
            </a:endParaRPr>
          </a:p>
        </p:txBody>
      </p:sp>
      <p:sp>
        <p:nvSpPr>
          <p:cNvPr id="4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[Activity instructions]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9" y="1524000"/>
            <a:ext cx="7300381" cy="4497389"/>
          </a:xfrm>
        </p:spPr>
        <p:txBody>
          <a:bodyPr/>
          <a:lstStyle>
            <a:lvl1pPr marL="342886" indent="-342886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100"/>
            </a:lvl1pPr>
            <a:lvl2pPr marL="700060" indent="-342886">
              <a:buFont typeface="+mj-lt"/>
              <a:buAutoNum type="arabicPeriod"/>
              <a:defRPr sz="1800"/>
            </a:lvl2pPr>
            <a:lvl3pPr marL="966749" indent="-342886">
              <a:buFont typeface="+mj-lt"/>
              <a:buAutoNum type="arabicPeriod"/>
              <a:defRPr sz="1500"/>
            </a:lvl3pPr>
            <a:lvl4pPr>
              <a:buFont typeface="+mj-lt"/>
              <a:buAutoNum type="arabicPeriod"/>
              <a:defRPr sz="1400"/>
            </a:lvl4pPr>
            <a:lvl5pPr>
              <a:buFont typeface="+mj-lt"/>
              <a:buAutoNum type="arabicPeriod"/>
              <a:defRPr sz="1400"/>
            </a:lvl5pPr>
          </a:lstStyle>
          <a:p>
            <a:pPr lvl="0"/>
            <a:r>
              <a:rPr lang="en-US"/>
              <a:t>[Insert step]</a:t>
            </a:r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952143" y="2900680"/>
            <a:ext cx="1665183" cy="37719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XX minutes</a:t>
            </a:r>
          </a:p>
        </p:txBody>
      </p:sp>
      <p:grpSp>
        <p:nvGrpSpPr>
          <p:cNvPr id="18" name="Stopwatch"/>
          <p:cNvGrpSpPr/>
          <p:nvPr userDrawn="1"/>
        </p:nvGrpSpPr>
        <p:grpSpPr>
          <a:xfrm>
            <a:off x="10419329" y="1551316"/>
            <a:ext cx="766423" cy="766422"/>
            <a:chOff x="7113229" y="3790352"/>
            <a:chExt cx="766422" cy="766422"/>
          </a:xfrm>
        </p:grpSpPr>
        <p:sp>
          <p:nvSpPr>
            <p:cNvPr id="19" name="Oval 18"/>
            <p:cNvSpPr/>
            <p:nvPr/>
          </p:nvSpPr>
          <p:spPr bwMode="auto">
            <a:xfrm>
              <a:off x="7113229" y="37903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7275459" y="3886586"/>
              <a:ext cx="443873" cy="545379"/>
              <a:chOff x="5020705" y="3838058"/>
              <a:chExt cx="557977" cy="685577"/>
            </a:xfrm>
            <a:solidFill>
              <a:schemeClr val="accent2"/>
            </a:solidFill>
          </p:grpSpPr>
          <p:sp>
            <p:nvSpPr>
              <p:cNvPr id="21" name="Freeform 338"/>
              <p:cNvSpPr>
                <a:spLocks noEditPoints="1"/>
              </p:cNvSpPr>
              <p:nvPr/>
            </p:nvSpPr>
            <p:spPr bwMode="auto">
              <a:xfrm>
                <a:off x="5236975" y="4028376"/>
                <a:ext cx="125437" cy="278989"/>
              </a:xfrm>
              <a:custGeom>
                <a:avLst/>
                <a:gdLst>
                  <a:gd name="T0" fmla="*/ 24 w 40"/>
                  <a:gd name="T1" fmla="*/ 48 h 88"/>
                  <a:gd name="T2" fmla="*/ 24 w 40"/>
                  <a:gd name="T3" fmla="*/ 4 h 88"/>
                  <a:gd name="T4" fmla="*/ 20 w 40"/>
                  <a:gd name="T5" fmla="*/ 0 h 88"/>
                  <a:gd name="T6" fmla="*/ 16 w 40"/>
                  <a:gd name="T7" fmla="*/ 4 h 88"/>
                  <a:gd name="T8" fmla="*/ 16 w 40"/>
                  <a:gd name="T9" fmla="*/ 48 h 88"/>
                  <a:gd name="T10" fmla="*/ 0 w 40"/>
                  <a:gd name="T11" fmla="*/ 68 h 88"/>
                  <a:gd name="T12" fmla="*/ 20 w 40"/>
                  <a:gd name="T13" fmla="*/ 88 h 88"/>
                  <a:gd name="T14" fmla="*/ 40 w 40"/>
                  <a:gd name="T15" fmla="*/ 68 h 88"/>
                  <a:gd name="T16" fmla="*/ 24 w 40"/>
                  <a:gd name="T17" fmla="*/ 48 h 88"/>
                  <a:gd name="T18" fmla="*/ 20 w 40"/>
                  <a:gd name="T19" fmla="*/ 80 h 88"/>
                  <a:gd name="T20" fmla="*/ 8 w 40"/>
                  <a:gd name="T21" fmla="*/ 68 h 88"/>
                  <a:gd name="T22" fmla="*/ 20 w 40"/>
                  <a:gd name="T23" fmla="*/ 56 h 88"/>
                  <a:gd name="T24" fmla="*/ 32 w 40"/>
                  <a:gd name="T25" fmla="*/ 68 h 88"/>
                  <a:gd name="T26" fmla="*/ 20 w 40"/>
                  <a:gd name="T27" fmla="*/ 8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88">
                    <a:moveTo>
                      <a:pt x="24" y="48"/>
                    </a:moveTo>
                    <a:cubicBezTo>
                      <a:pt x="24" y="4"/>
                      <a:pt x="24" y="4"/>
                      <a:pt x="24" y="4"/>
                    </a:cubicBezTo>
                    <a:cubicBezTo>
                      <a:pt x="24" y="2"/>
                      <a:pt x="22" y="0"/>
                      <a:pt x="20" y="0"/>
                    </a:cubicBezTo>
                    <a:cubicBezTo>
                      <a:pt x="18" y="0"/>
                      <a:pt x="16" y="2"/>
                      <a:pt x="16" y="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7" y="50"/>
                      <a:pt x="0" y="58"/>
                      <a:pt x="0" y="68"/>
                    </a:cubicBezTo>
                    <a:cubicBezTo>
                      <a:pt x="0" y="79"/>
                      <a:pt x="9" y="88"/>
                      <a:pt x="20" y="88"/>
                    </a:cubicBezTo>
                    <a:cubicBezTo>
                      <a:pt x="31" y="88"/>
                      <a:pt x="40" y="79"/>
                      <a:pt x="40" y="68"/>
                    </a:cubicBezTo>
                    <a:cubicBezTo>
                      <a:pt x="40" y="58"/>
                      <a:pt x="33" y="50"/>
                      <a:pt x="24" y="48"/>
                    </a:cubicBezTo>
                    <a:close/>
                    <a:moveTo>
                      <a:pt x="20" y="80"/>
                    </a:moveTo>
                    <a:cubicBezTo>
                      <a:pt x="13" y="80"/>
                      <a:pt x="8" y="75"/>
                      <a:pt x="8" y="68"/>
                    </a:cubicBezTo>
                    <a:cubicBezTo>
                      <a:pt x="8" y="61"/>
                      <a:pt x="13" y="56"/>
                      <a:pt x="20" y="56"/>
                    </a:cubicBezTo>
                    <a:cubicBezTo>
                      <a:pt x="27" y="56"/>
                      <a:pt x="32" y="61"/>
                      <a:pt x="32" y="68"/>
                    </a:cubicBezTo>
                    <a:cubicBezTo>
                      <a:pt x="32" y="75"/>
                      <a:pt x="27" y="80"/>
                      <a:pt x="20" y="8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339"/>
              <p:cNvSpPr>
                <a:spLocks noEditPoints="1"/>
              </p:cNvSpPr>
              <p:nvPr/>
            </p:nvSpPr>
            <p:spPr bwMode="auto">
              <a:xfrm>
                <a:off x="5020705" y="3959169"/>
                <a:ext cx="557977" cy="564466"/>
              </a:xfrm>
              <a:custGeom>
                <a:avLst/>
                <a:gdLst>
                  <a:gd name="T0" fmla="*/ 158 w 176"/>
                  <a:gd name="T1" fmla="*/ 37 h 178"/>
                  <a:gd name="T2" fmla="*/ 159 w 176"/>
                  <a:gd name="T3" fmla="*/ 37 h 178"/>
                  <a:gd name="T4" fmla="*/ 169 w 176"/>
                  <a:gd name="T5" fmla="*/ 26 h 178"/>
                  <a:gd name="T6" fmla="*/ 169 w 176"/>
                  <a:gd name="T7" fmla="*/ 10 h 178"/>
                  <a:gd name="T8" fmla="*/ 164 w 176"/>
                  <a:gd name="T9" fmla="*/ 5 h 178"/>
                  <a:gd name="T10" fmla="*/ 148 w 176"/>
                  <a:gd name="T11" fmla="*/ 5 h 178"/>
                  <a:gd name="T12" fmla="*/ 137 w 176"/>
                  <a:gd name="T13" fmla="*/ 15 h 178"/>
                  <a:gd name="T14" fmla="*/ 136 w 176"/>
                  <a:gd name="T15" fmla="*/ 16 h 178"/>
                  <a:gd name="T16" fmla="*/ 88 w 176"/>
                  <a:gd name="T17" fmla="*/ 2 h 178"/>
                  <a:gd name="T18" fmla="*/ 0 w 176"/>
                  <a:gd name="T19" fmla="*/ 90 h 178"/>
                  <a:gd name="T20" fmla="*/ 88 w 176"/>
                  <a:gd name="T21" fmla="*/ 178 h 178"/>
                  <a:gd name="T22" fmla="*/ 176 w 176"/>
                  <a:gd name="T23" fmla="*/ 90 h 178"/>
                  <a:gd name="T24" fmla="*/ 158 w 176"/>
                  <a:gd name="T25" fmla="*/ 37 h 178"/>
                  <a:gd name="T26" fmla="*/ 143 w 176"/>
                  <a:gd name="T27" fmla="*/ 21 h 178"/>
                  <a:gd name="T28" fmla="*/ 153 w 176"/>
                  <a:gd name="T29" fmla="*/ 10 h 178"/>
                  <a:gd name="T30" fmla="*/ 159 w 176"/>
                  <a:gd name="T31" fmla="*/ 10 h 178"/>
                  <a:gd name="T32" fmla="*/ 164 w 176"/>
                  <a:gd name="T33" fmla="*/ 15 h 178"/>
                  <a:gd name="T34" fmla="*/ 164 w 176"/>
                  <a:gd name="T35" fmla="*/ 21 h 178"/>
                  <a:gd name="T36" fmla="*/ 153 w 176"/>
                  <a:gd name="T37" fmla="*/ 31 h 178"/>
                  <a:gd name="T38" fmla="*/ 143 w 176"/>
                  <a:gd name="T39" fmla="*/ 21 h 178"/>
                  <a:gd name="T40" fmla="*/ 143 w 176"/>
                  <a:gd name="T41" fmla="*/ 21 h 178"/>
                  <a:gd name="T42" fmla="*/ 88 w 176"/>
                  <a:gd name="T43" fmla="*/ 170 h 178"/>
                  <a:gd name="T44" fmla="*/ 8 w 176"/>
                  <a:gd name="T45" fmla="*/ 90 h 178"/>
                  <a:gd name="T46" fmla="*/ 88 w 176"/>
                  <a:gd name="T47" fmla="*/ 10 h 178"/>
                  <a:gd name="T48" fmla="*/ 168 w 176"/>
                  <a:gd name="T49" fmla="*/ 90 h 178"/>
                  <a:gd name="T50" fmla="*/ 88 w 176"/>
                  <a:gd name="T51" fmla="*/ 17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6" h="178">
                    <a:moveTo>
                      <a:pt x="158" y="37"/>
                    </a:moveTo>
                    <a:cubicBezTo>
                      <a:pt x="158" y="37"/>
                      <a:pt x="159" y="37"/>
                      <a:pt x="159" y="37"/>
                    </a:cubicBezTo>
                    <a:cubicBezTo>
                      <a:pt x="169" y="26"/>
                      <a:pt x="169" y="26"/>
                      <a:pt x="169" y="26"/>
                    </a:cubicBezTo>
                    <a:cubicBezTo>
                      <a:pt x="174" y="22"/>
                      <a:pt x="174" y="14"/>
                      <a:pt x="169" y="10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0" y="0"/>
                      <a:pt x="152" y="0"/>
                      <a:pt x="148" y="5"/>
                    </a:cubicBezTo>
                    <a:cubicBezTo>
                      <a:pt x="137" y="15"/>
                      <a:pt x="137" y="15"/>
                      <a:pt x="137" y="15"/>
                    </a:cubicBezTo>
                    <a:cubicBezTo>
                      <a:pt x="137" y="16"/>
                      <a:pt x="136" y="16"/>
                      <a:pt x="136" y="16"/>
                    </a:cubicBezTo>
                    <a:cubicBezTo>
                      <a:pt x="122" y="7"/>
                      <a:pt x="106" y="2"/>
                      <a:pt x="88" y="2"/>
                    </a:cubicBezTo>
                    <a:cubicBezTo>
                      <a:pt x="39" y="2"/>
                      <a:pt x="0" y="41"/>
                      <a:pt x="0" y="90"/>
                    </a:cubicBezTo>
                    <a:cubicBezTo>
                      <a:pt x="0" y="139"/>
                      <a:pt x="39" y="178"/>
                      <a:pt x="88" y="178"/>
                    </a:cubicBezTo>
                    <a:cubicBezTo>
                      <a:pt x="137" y="178"/>
                      <a:pt x="176" y="139"/>
                      <a:pt x="176" y="90"/>
                    </a:cubicBezTo>
                    <a:cubicBezTo>
                      <a:pt x="176" y="70"/>
                      <a:pt x="169" y="52"/>
                      <a:pt x="158" y="37"/>
                    </a:cubicBezTo>
                    <a:close/>
                    <a:moveTo>
                      <a:pt x="143" y="21"/>
                    </a:moveTo>
                    <a:cubicBezTo>
                      <a:pt x="153" y="10"/>
                      <a:pt x="153" y="10"/>
                      <a:pt x="153" y="10"/>
                    </a:cubicBezTo>
                    <a:cubicBezTo>
                      <a:pt x="155" y="9"/>
                      <a:pt x="157" y="9"/>
                      <a:pt x="159" y="10"/>
                    </a:cubicBezTo>
                    <a:cubicBezTo>
                      <a:pt x="164" y="15"/>
                      <a:pt x="164" y="15"/>
                      <a:pt x="164" y="15"/>
                    </a:cubicBezTo>
                    <a:cubicBezTo>
                      <a:pt x="165" y="17"/>
                      <a:pt x="165" y="19"/>
                      <a:pt x="164" y="21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150" y="27"/>
                      <a:pt x="146" y="24"/>
                      <a:pt x="143" y="21"/>
                    </a:cubicBezTo>
                    <a:cubicBezTo>
                      <a:pt x="143" y="21"/>
                      <a:pt x="143" y="21"/>
                      <a:pt x="143" y="21"/>
                    </a:cubicBezTo>
                    <a:close/>
                    <a:moveTo>
                      <a:pt x="88" y="170"/>
                    </a:moveTo>
                    <a:cubicBezTo>
                      <a:pt x="44" y="170"/>
                      <a:pt x="8" y="134"/>
                      <a:pt x="8" y="90"/>
                    </a:cubicBezTo>
                    <a:cubicBezTo>
                      <a:pt x="8" y="46"/>
                      <a:pt x="44" y="10"/>
                      <a:pt x="88" y="10"/>
                    </a:cubicBezTo>
                    <a:cubicBezTo>
                      <a:pt x="132" y="10"/>
                      <a:pt x="168" y="46"/>
                      <a:pt x="168" y="90"/>
                    </a:cubicBezTo>
                    <a:cubicBezTo>
                      <a:pt x="168" y="134"/>
                      <a:pt x="132" y="170"/>
                      <a:pt x="88" y="1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340"/>
              <p:cNvSpPr>
                <a:spLocks noEditPoints="1"/>
              </p:cNvSpPr>
              <p:nvPr/>
            </p:nvSpPr>
            <p:spPr bwMode="auto">
              <a:xfrm>
                <a:off x="5211023" y="3838058"/>
                <a:ext cx="177342" cy="101648"/>
              </a:xfrm>
              <a:custGeom>
                <a:avLst/>
                <a:gdLst>
                  <a:gd name="T0" fmla="*/ 12 w 56"/>
                  <a:gd name="T1" fmla="*/ 32 h 32"/>
                  <a:gd name="T2" fmla="*/ 44 w 56"/>
                  <a:gd name="T3" fmla="*/ 32 h 32"/>
                  <a:gd name="T4" fmla="*/ 44 w 56"/>
                  <a:gd name="T5" fmla="*/ 32 h 32"/>
                  <a:gd name="T6" fmla="*/ 56 w 56"/>
                  <a:gd name="T7" fmla="*/ 20 h 32"/>
                  <a:gd name="T8" fmla="*/ 56 w 56"/>
                  <a:gd name="T9" fmla="*/ 16 h 32"/>
                  <a:gd name="T10" fmla="*/ 45 w 56"/>
                  <a:gd name="T11" fmla="*/ 2 h 32"/>
                  <a:gd name="T12" fmla="*/ 11 w 56"/>
                  <a:gd name="T13" fmla="*/ 2 h 32"/>
                  <a:gd name="T14" fmla="*/ 0 w 56"/>
                  <a:gd name="T15" fmla="*/ 16 h 32"/>
                  <a:gd name="T16" fmla="*/ 0 w 56"/>
                  <a:gd name="T17" fmla="*/ 20 h 32"/>
                  <a:gd name="T18" fmla="*/ 12 w 56"/>
                  <a:gd name="T19" fmla="*/ 32 h 32"/>
                  <a:gd name="T20" fmla="*/ 8 w 56"/>
                  <a:gd name="T21" fmla="*/ 16 h 32"/>
                  <a:gd name="T22" fmla="*/ 13 w 56"/>
                  <a:gd name="T23" fmla="*/ 10 h 32"/>
                  <a:gd name="T24" fmla="*/ 28 w 56"/>
                  <a:gd name="T25" fmla="*/ 8 h 32"/>
                  <a:gd name="T26" fmla="*/ 43 w 56"/>
                  <a:gd name="T27" fmla="*/ 10 h 32"/>
                  <a:gd name="T28" fmla="*/ 48 w 56"/>
                  <a:gd name="T29" fmla="*/ 16 h 32"/>
                  <a:gd name="T30" fmla="*/ 48 w 56"/>
                  <a:gd name="T31" fmla="*/ 20 h 32"/>
                  <a:gd name="T32" fmla="*/ 44 w 56"/>
                  <a:gd name="T33" fmla="*/ 24 h 32"/>
                  <a:gd name="T34" fmla="*/ 12 w 56"/>
                  <a:gd name="T35" fmla="*/ 24 h 32"/>
                  <a:gd name="T36" fmla="*/ 8 w 56"/>
                  <a:gd name="T37" fmla="*/ 20 h 32"/>
                  <a:gd name="T38" fmla="*/ 8 w 56"/>
                  <a:gd name="T3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" h="32">
                    <a:moveTo>
                      <a:pt x="12" y="32"/>
                    </a:move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51" y="32"/>
                      <a:pt x="56" y="26"/>
                      <a:pt x="56" y="20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10"/>
                      <a:pt x="51" y="3"/>
                      <a:pt x="45" y="2"/>
                    </a:cubicBezTo>
                    <a:cubicBezTo>
                      <a:pt x="34" y="0"/>
                      <a:pt x="22" y="0"/>
                      <a:pt x="11" y="2"/>
                    </a:cubicBezTo>
                    <a:cubicBezTo>
                      <a:pt x="5" y="3"/>
                      <a:pt x="0" y="10"/>
                      <a:pt x="0" y="1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6"/>
                      <a:pt x="5" y="32"/>
                      <a:pt x="12" y="32"/>
                    </a:cubicBezTo>
                    <a:close/>
                    <a:moveTo>
                      <a:pt x="8" y="16"/>
                    </a:moveTo>
                    <a:cubicBezTo>
                      <a:pt x="8" y="13"/>
                      <a:pt x="10" y="10"/>
                      <a:pt x="13" y="10"/>
                    </a:cubicBezTo>
                    <a:cubicBezTo>
                      <a:pt x="18" y="9"/>
                      <a:pt x="23" y="8"/>
                      <a:pt x="28" y="8"/>
                    </a:cubicBezTo>
                    <a:cubicBezTo>
                      <a:pt x="33" y="8"/>
                      <a:pt x="38" y="9"/>
                      <a:pt x="43" y="10"/>
                    </a:cubicBezTo>
                    <a:cubicBezTo>
                      <a:pt x="46" y="10"/>
                      <a:pt x="48" y="13"/>
                      <a:pt x="48" y="16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2"/>
                      <a:pt x="46" y="24"/>
                      <a:pt x="44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0" y="24"/>
                      <a:pt x="8" y="22"/>
                      <a:pt x="8" y="20"/>
                    </a:cubicBezTo>
                    <a:lnTo>
                      <a:pt x="8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341"/>
              <p:cNvSpPr>
                <a:spLocks/>
              </p:cNvSpPr>
              <p:nvPr/>
            </p:nvSpPr>
            <p:spPr bwMode="auto">
              <a:xfrm>
                <a:off x="5072610" y="4231670"/>
                <a:ext cx="49743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342"/>
              <p:cNvSpPr>
                <a:spLocks/>
              </p:cNvSpPr>
              <p:nvPr/>
            </p:nvSpPr>
            <p:spPr bwMode="auto">
              <a:xfrm>
                <a:off x="5477034" y="4231670"/>
                <a:ext cx="51905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343"/>
              <p:cNvSpPr>
                <a:spLocks/>
              </p:cNvSpPr>
              <p:nvPr/>
            </p:nvSpPr>
            <p:spPr bwMode="auto">
              <a:xfrm>
                <a:off x="5286717" y="4421987"/>
                <a:ext cx="25952" cy="5190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939003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brief 2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10050"/>
          </a:xfrm>
          <a:prstGeom prst="rect">
            <a:avLst/>
          </a:prstGeom>
        </p:spPr>
      </p:pic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028406"/>
            <a:ext cx="9144000" cy="1524794"/>
          </a:xfrm>
        </p:spPr>
        <p:txBody>
          <a:bodyPr wrap="square" anchor="t">
            <a:noAutofit/>
          </a:bodyPr>
          <a:lstStyle>
            <a:lvl1pPr marL="0" indent="0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the questions you want participants to answer during the debrief]</a:t>
            </a:r>
          </a:p>
        </p:txBody>
      </p:sp>
      <p:sp>
        <p:nvSpPr>
          <p:cNvPr id="12" name="Rectangle 11"/>
          <p:cNvSpPr/>
          <p:nvPr/>
        </p:nvSpPr>
        <p:spPr bwMode="ltGray">
          <a:xfrm>
            <a:off x="0" y="3907081"/>
            <a:ext cx="3962400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0" y="3889828"/>
            <a:ext cx="38862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/>
                </a:solidFill>
              </a:rPr>
              <a:t>Product Updates</a:t>
            </a:r>
          </a:p>
        </p:txBody>
      </p:sp>
    </p:spTree>
    <p:extLst>
      <p:ext uri="{BB962C8B-B14F-4D97-AF65-F5344CB8AC3E}">
        <p14:creationId xmlns:p14="http://schemas.microsoft.com/office/powerpoint/2010/main" val="2086816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le 2"/>
          <p:cNvSpPr txBox="1">
            <a:spLocks/>
          </p:cNvSpPr>
          <p:nvPr/>
        </p:nvSpPr>
        <p:spPr>
          <a:xfrm>
            <a:off x="4400669" y="2421782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Q&amp;A</a:t>
            </a:r>
          </a:p>
        </p:txBody>
      </p:sp>
      <p:sp>
        <p:nvSpPr>
          <p:cNvPr id="2" name="Oval 1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4" name="Raise hand"/>
          <p:cNvGrpSpPr/>
          <p:nvPr userDrawn="1"/>
        </p:nvGrpSpPr>
        <p:grpSpPr>
          <a:xfrm>
            <a:off x="2662578" y="2286001"/>
            <a:ext cx="766423" cy="766422"/>
            <a:chOff x="1065213" y="606770"/>
            <a:chExt cx="766422" cy="766422"/>
          </a:xfrm>
        </p:grpSpPr>
        <p:sp>
          <p:nvSpPr>
            <p:cNvPr id="15" name="Oval 14"/>
            <p:cNvSpPr/>
            <p:nvPr/>
          </p:nvSpPr>
          <p:spPr bwMode="black">
            <a:xfrm>
              <a:off x="1065213" y="606770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black">
            <a:xfrm>
              <a:off x="1319065" y="736600"/>
              <a:ext cx="249721" cy="508801"/>
            </a:xfrm>
            <a:custGeom>
              <a:avLst/>
              <a:gdLst>
                <a:gd name="T0" fmla="*/ 156 w 178"/>
                <a:gd name="T1" fmla="*/ 51 h 365"/>
                <a:gd name="T2" fmla="*/ 145 w 178"/>
                <a:gd name="T3" fmla="*/ 41 h 365"/>
                <a:gd name="T4" fmla="*/ 122 w 178"/>
                <a:gd name="T5" fmla="*/ 17 h 365"/>
                <a:gd name="T6" fmla="*/ 89 w 178"/>
                <a:gd name="T7" fmla="*/ 0 h 365"/>
                <a:gd name="T8" fmla="*/ 56 w 178"/>
                <a:gd name="T9" fmla="*/ 17 h 365"/>
                <a:gd name="T10" fmla="*/ 33 w 178"/>
                <a:gd name="T11" fmla="*/ 109 h 365"/>
                <a:gd name="T12" fmla="*/ 0 w 178"/>
                <a:gd name="T13" fmla="*/ 115 h 365"/>
                <a:gd name="T14" fmla="*/ 30 w 178"/>
                <a:gd name="T15" fmla="*/ 281 h 365"/>
                <a:gd name="T16" fmla="*/ 33 w 178"/>
                <a:gd name="T17" fmla="*/ 284 h 365"/>
                <a:gd name="T18" fmla="*/ 39 w 178"/>
                <a:gd name="T19" fmla="*/ 365 h 365"/>
                <a:gd name="T20" fmla="*/ 39 w 178"/>
                <a:gd name="T21" fmla="*/ 365 h 365"/>
                <a:gd name="T22" fmla="*/ 45 w 178"/>
                <a:gd name="T23" fmla="*/ 361 h 365"/>
                <a:gd name="T24" fmla="*/ 59 w 178"/>
                <a:gd name="T25" fmla="*/ 299 h 365"/>
                <a:gd name="T26" fmla="*/ 66 w 178"/>
                <a:gd name="T27" fmla="*/ 295 h 365"/>
                <a:gd name="T28" fmla="*/ 58 w 178"/>
                <a:gd name="T29" fmla="*/ 286 h 365"/>
                <a:gd name="T30" fmla="*/ 57 w 178"/>
                <a:gd name="T31" fmla="*/ 285 h 365"/>
                <a:gd name="T32" fmla="*/ 37 w 178"/>
                <a:gd name="T33" fmla="*/ 273 h 365"/>
                <a:gd name="T34" fmla="*/ 11 w 178"/>
                <a:gd name="T35" fmla="*/ 133 h 365"/>
                <a:gd name="T36" fmla="*/ 13 w 178"/>
                <a:gd name="T37" fmla="*/ 113 h 365"/>
                <a:gd name="T38" fmla="*/ 33 w 178"/>
                <a:gd name="T39" fmla="*/ 177 h 365"/>
                <a:gd name="T40" fmla="*/ 39 w 178"/>
                <a:gd name="T41" fmla="*/ 182 h 365"/>
                <a:gd name="T42" fmla="*/ 90 w 178"/>
                <a:gd name="T43" fmla="*/ 233 h 365"/>
                <a:gd name="T44" fmla="*/ 45 w 178"/>
                <a:gd name="T45" fmla="*/ 171 h 365"/>
                <a:gd name="T46" fmla="*/ 56 w 178"/>
                <a:gd name="T47" fmla="*/ 28 h 365"/>
                <a:gd name="T48" fmla="*/ 67 w 178"/>
                <a:gd name="T49" fmla="*/ 41 h 365"/>
                <a:gd name="T50" fmla="*/ 72 w 178"/>
                <a:gd name="T51" fmla="*/ 146 h 365"/>
                <a:gd name="T52" fmla="*/ 72 w 178"/>
                <a:gd name="T53" fmla="*/ 146 h 365"/>
                <a:gd name="T54" fmla="*/ 78 w 178"/>
                <a:gd name="T55" fmla="*/ 24 h 365"/>
                <a:gd name="T56" fmla="*/ 78 w 178"/>
                <a:gd name="T57" fmla="*/ 23 h 365"/>
                <a:gd name="T58" fmla="*/ 100 w 178"/>
                <a:gd name="T59" fmla="*/ 23 h 365"/>
                <a:gd name="T60" fmla="*/ 100 w 178"/>
                <a:gd name="T61" fmla="*/ 23 h 365"/>
                <a:gd name="T62" fmla="*/ 100 w 178"/>
                <a:gd name="T63" fmla="*/ 39 h 365"/>
                <a:gd name="T64" fmla="*/ 100 w 178"/>
                <a:gd name="T65" fmla="*/ 140 h 365"/>
                <a:gd name="T66" fmla="*/ 111 w 178"/>
                <a:gd name="T67" fmla="*/ 140 h 365"/>
                <a:gd name="T68" fmla="*/ 122 w 178"/>
                <a:gd name="T69" fmla="*/ 28 h 365"/>
                <a:gd name="T70" fmla="*/ 133 w 178"/>
                <a:gd name="T71" fmla="*/ 40 h 365"/>
                <a:gd name="T72" fmla="*/ 139 w 178"/>
                <a:gd name="T73" fmla="*/ 155 h 365"/>
                <a:gd name="T74" fmla="*/ 139 w 178"/>
                <a:gd name="T75" fmla="*/ 155 h 365"/>
                <a:gd name="T76" fmla="*/ 145 w 178"/>
                <a:gd name="T77" fmla="*/ 149 h 365"/>
                <a:gd name="T78" fmla="*/ 145 w 178"/>
                <a:gd name="T79" fmla="*/ 74 h 365"/>
                <a:gd name="T80" fmla="*/ 156 w 178"/>
                <a:gd name="T81" fmla="*/ 62 h 365"/>
                <a:gd name="T82" fmla="*/ 167 w 178"/>
                <a:gd name="T83" fmla="*/ 74 h 365"/>
                <a:gd name="T84" fmla="*/ 143 w 178"/>
                <a:gd name="T85" fmla="*/ 271 h 365"/>
                <a:gd name="T86" fmla="*/ 115 w 178"/>
                <a:gd name="T87" fmla="*/ 288 h 365"/>
                <a:gd name="T88" fmla="*/ 117 w 178"/>
                <a:gd name="T89" fmla="*/ 299 h 365"/>
                <a:gd name="T90" fmla="*/ 133 w 178"/>
                <a:gd name="T91" fmla="*/ 292 h 365"/>
                <a:gd name="T92" fmla="*/ 139 w 178"/>
                <a:gd name="T93" fmla="*/ 365 h 365"/>
                <a:gd name="T94" fmla="*/ 139 w 178"/>
                <a:gd name="T95" fmla="*/ 365 h 365"/>
                <a:gd name="T96" fmla="*/ 145 w 178"/>
                <a:gd name="T97" fmla="*/ 361 h 365"/>
                <a:gd name="T98" fmla="*/ 149 w 178"/>
                <a:gd name="T99" fmla="*/ 280 h 365"/>
                <a:gd name="T100" fmla="*/ 178 w 178"/>
                <a:gd name="T101" fmla="*/ 215 h 365"/>
                <a:gd name="T102" fmla="*/ 178 w 178"/>
                <a:gd name="T103" fmla="*/ 7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8" h="365">
                  <a:moveTo>
                    <a:pt x="178" y="73"/>
                  </a:moveTo>
                  <a:cubicBezTo>
                    <a:pt x="178" y="61"/>
                    <a:pt x="168" y="51"/>
                    <a:pt x="156" y="51"/>
                  </a:cubicBezTo>
                  <a:cubicBezTo>
                    <a:pt x="152" y="51"/>
                    <a:pt x="148" y="52"/>
                    <a:pt x="145" y="54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5" y="40"/>
                    <a:pt x="145" y="40"/>
                    <a:pt x="145" y="39"/>
                  </a:cubicBezTo>
                  <a:cubicBezTo>
                    <a:pt x="145" y="27"/>
                    <a:pt x="135" y="17"/>
                    <a:pt x="122" y="17"/>
                  </a:cubicBezTo>
                  <a:cubicBezTo>
                    <a:pt x="118" y="17"/>
                    <a:pt x="115" y="18"/>
                    <a:pt x="111" y="20"/>
                  </a:cubicBezTo>
                  <a:cubicBezTo>
                    <a:pt x="110" y="9"/>
                    <a:pt x="100" y="0"/>
                    <a:pt x="89" y="0"/>
                  </a:cubicBezTo>
                  <a:cubicBezTo>
                    <a:pt x="78" y="0"/>
                    <a:pt x="68" y="9"/>
                    <a:pt x="67" y="20"/>
                  </a:cubicBezTo>
                  <a:cubicBezTo>
                    <a:pt x="64" y="18"/>
                    <a:pt x="60" y="17"/>
                    <a:pt x="56" y="17"/>
                  </a:cubicBezTo>
                  <a:cubicBezTo>
                    <a:pt x="43" y="17"/>
                    <a:pt x="33" y="27"/>
                    <a:pt x="33" y="39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28" y="104"/>
                    <a:pt x="21" y="102"/>
                    <a:pt x="13" y="102"/>
                  </a:cubicBezTo>
                  <a:cubicBezTo>
                    <a:pt x="6" y="102"/>
                    <a:pt x="0" y="108"/>
                    <a:pt x="0" y="115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41"/>
                    <a:pt x="12" y="265"/>
                    <a:pt x="30" y="281"/>
                  </a:cubicBezTo>
                  <a:cubicBezTo>
                    <a:pt x="30" y="281"/>
                    <a:pt x="30" y="282"/>
                    <a:pt x="31" y="282"/>
                  </a:cubicBezTo>
                  <a:cubicBezTo>
                    <a:pt x="32" y="283"/>
                    <a:pt x="32" y="284"/>
                    <a:pt x="33" y="284"/>
                  </a:cubicBezTo>
                  <a:cubicBezTo>
                    <a:pt x="33" y="361"/>
                    <a:pt x="33" y="361"/>
                    <a:pt x="33" y="361"/>
                  </a:cubicBezTo>
                  <a:cubicBezTo>
                    <a:pt x="33" y="363"/>
                    <a:pt x="36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42" y="365"/>
                    <a:pt x="45" y="363"/>
                    <a:pt x="45" y="361"/>
                  </a:cubicBezTo>
                  <a:cubicBezTo>
                    <a:pt x="45" y="292"/>
                    <a:pt x="45" y="292"/>
                    <a:pt x="45" y="292"/>
                  </a:cubicBezTo>
                  <a:cubicBezTo>
                    <a:pt x="49" y="295"/>
                    <a:pt x="54" y="297"/>
                    <a:pt x="59" y="299"/>
                  </a:cubicBezTo>
                  <a:cubicBezTo>
                    <a:pt x="59" y="299"/>
                    <a:pt x="60" y="299"/>
                    <a:pt x="61" y="299"/>
                  </a:cubicBezTo>
                  <a:cubicBezTo>
                    <a:pt x="63" y="299"/>
                    <a:pt x="65" y="297"/>
                    <a:pt x="66" y="295"/>
                  </a:cubicBezTo>
                  <a:cubicBezTo>
                    <a:pt x="67" y="292"/>
                    <a:pt x="66" y="289"/>
                    <a:pt x="63" y="288"/>
                  </a:cubicBezTo>
                  <a:cubicBezTo>
                    <a:pt x="61" y="287"/>
                    <a:pt x="59" y="286"/>
                    <a:pt x="58" y="286"/>
                  </a:cubicBezTo>
                  <a:cubicBezTo>
                    <a:pt x="58" y="286"/>
                    <a:pt x="58" y="286"/>
                    <a:pt x="58" y="286"/>
                  </a:cubicBezTo>
                  <a:cubicBezTo>
                    <a:pt x="58" y="286"/>
                    <a:pt x="57" y="286"/>
                    <a:pt x="57" y="285"/>
                  </a:cubicBezTo>
                  <a:cubicBezTo>
                    <a:pt x="50" y="282"/>
                    <a:pt x="44" y="278"/>
                    <a:pt x="38" y="273"/>
                  </a:cubicBezTo>
                  <a:cubicBezTo>
                    <a:pt x="38" y="273"/>
                    <a:pt x="37" y="273"/>
                    <a:pt x="37" y="273"/>
                  </a:cubicBezTo>
                  <a:cubicBezTo>
                    <a:pt x="21" y="258"/>
                    <a:pt x="11" y="238"/>
                    <a:pt x="11" y="215"/>
                  </a:cubicBezTo>
                  <a:cubicBezTo>
                    <a:pt x="11" y="133"/>
                    <a:pt x="11" y="133"/>
                    <a:pt x="11" y="13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11" y="114"/>
                    <a:pt x="12" y="113"/>
                    <a:pt x="13" y="113"/>
                  </a:cubicBezTo>
                  <a:cubicBezTo>
                    <a:pt x="24" y="113"/>
                    <a:pt x="33" y="122"/>
                    <a:pt x="33" y="133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33" y="180"/>
                    <a:pt x="36" y="182"/>
                    <a:pt x="39" y="182"/>
                  </a:cubicBezTo>
                  <a:cubicBezTo>
                    <a:pt x="39" y="182"/>
                    <a:pt x="39" y="182"/>
                    <a:pt x="39" y="182"/>
                  </a:cubicBezTo>
                  <a:cubicBezTo>
                    <a:pt x="64" y="182"/>
                    <a:pt x="84" y="202"/>
                    <a:pt x="84" y="227"/>
                  </a:cubicBezTo>
                  <a:cubicBezTo>
                    <a:pt x="84" y="230"/>
                    <a:pt x="86" y="233"/>
                    <a:pt x="90" y="233"/>
                  </a:cubicBezTo>
                  <a:cubicBezTo>
                    <a:pt x="93" y="233"/>
                    <a:pt x="95" y="230"/>
                    <a:pt x="95" y="227"/>
                  </a:cubicBezTo>
                  <a:cubicBezTo>
                    <a:pt x="95" y="198"/>
                    <a:pt x="73" y="174"/>
                    <a:pt x="45" y="171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3"/>
                    <a:pt x="49" y="28"/>
                    <a:pt x="56" y="28"/>
                  </a:cubicBezTo>
                  <a:cubicBezTo>
                    <a:pt x="62" y="28"/>
                    <a:pt x="67" y="33"/>
                    <a:pt x="67" y="39"/>
                  </a:cubicBezTo>
                  <a:cubicBezTo>
                    <a:pt x="67" y="40"/>
                    <a:pt x="67" y="40"/>
                    <a:pt x="67" y="41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67" y="143"/>
                    <a:pt x="69" y="146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5" y="146"/>
                    <a:pt x="78" y="143"/>
                    <a:pt x="78" y="14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16"/>
                    <a:pt x="83" y="11"/>
                    <a:pt x="89" y="11"/>
                  </a:cubicBezTo>
                  <a:cubicBezTo>
                    <a:pt x="95" y="11"/>
                    <a:pt x="100" y="16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140"/>
                    <a:pt x="100" y="140"/>
                    <a:pt x="100" y="140"/>
                  </a:cubicBezTo>
                  <a:cubicBezTo>
                    <a:pt x="100" y="143"/>
                    <a:pt x="103" y="146"/>
                    <a:pt x="106" y="146"/>
                  </a:cubicBezTo>
                  <a:cubicBezTo>
                    <a:pt x="109" y="146"/>
                    <a:pt x="111" y="143"/>
                    <a:pt x="111" y="140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2" y="33"/>
                    <a:pt x="117" y="28"/>
                    <a:pt x="122" y="28"/>
                  </a:cubicBezTo>
                  <a:cubicBezTo>
                    <a:pt x="128" y="28"/>
                    <a:pt x="133" y="33"/>
                    <a:pt x="133" y="39"/>
                  </a:cubicBezTo>
                  <a:cubicBezTo>
                    <a:pt x="133" y="39"/>
                    <a:pt x="133" y="40"/>
                    <a:pt x="133" y="40"/>
                  </a:cubicBezTo>
                  <a:cubicBezTo>
                    <a:pt x="133" y="149"/>
                    <a:pt x="133" y="149"/>
                    <a:pt x="133" y="149"/>
                  </a:cubicBezTo>
                  <a:cubicBezTo>
                    <a:pt x="133" y="152"/>
                    <a:pt x="136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42" y="155"/>
                    <a:pt x="145" y="152"/>
                    <a:pt x="145" y="149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67"/>
                    <a:pt x="150" y="62"/>
                    <a:pt x="156" y="62"/>
                  </a:cubicBezTo>
                  <a:cubicBezTo>
                    <a:pt x="162" y="62"/>
                    <a:pt x="167" y="67"/>
                    <a:pt x="167" y="73"/>
                  </a:cubicBezTo>
                  <a:cubicBezTo>
                    <a:pt x="167" y="73"/>
                    <a:pt x="167" y="73"/>
                    <a:pt x="167" y="74"/>
                  </a:cubicBezTo>
                  <a:cubicBezTo>
                    <a:pt x="167" y="215"/>
                    <a:pt x="167" y="215"/>
                    <a:pt x="167" y="215"/>
                  </a:cubicBezTo>
                  <a:cubicBezTo>
                    <a:pt x="167" y="237"/>
                    <a:pt x="158" y="257"/>
                    <a:pt x="143" y="271"/>
                  </a:cubicBezTo>
                  <a:cubicBezTo>
                    <a:pt x="142" y="271"/>
                    <a:pt x="142" y="271"/>
                    <a:pt x="141" y="272"/>
                  </a:cubicBezTo>
                  <a:cubicBezTo>
                    <a:pt x="134" y="279"/>
                    <a:pt x="125" y="284"/>
                    <a:pt x="115" y="288"/>
                  </a:cubicBezTo>
                  <a:cubicBezTo>
                    <a:pt x="112" y="289"/>
                    <a:pt x="111" y="292"/>
                    <a:pt x="112" y="295"/>
                  </a:cubicBezTo>
                  <a:cubicBezTo>
                    <a:pt x="113" y="297"/>
                    <a:pt x="115" y="299"/>
                    <a:pt x="117" y="299"/>
                  </a:cubicBezTo>
                  <a:cubicBezTo>
                    <a:pt x="118" y="299"/>
                    <a:pt x="119" y="299"/>
                    <a:pt x="119" y="299"/>
                  </a:cubicBezTo>
                  <a:cubicBezTo>
                    <a:pt x="124" y="297"/>
                    <a:pt x="129" y="295"/>
                    <a:pt x="133" y="292"/>
                  </a:cubicBezTo>
                  <a:cubicBezTo>
                    <a:pt x="133" y="361"/>
                    <a:pt x="133" y="361"/>
                    <a:pt x="133" y="361"/>
                  </a:cubicBezTo>
                  <a:cubicBezTo>
                    <a:pt x="133" y="363"/>
                    <a:pt x="136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42" y="365"/>
                    <a:pt x="145" y="363"/>
                    <a:pt x="145" y="361"/>
                  </a:cubicBezTo>
                  <a:cubicBezTo>
                    <a:pt x="145" y="284"/>
                    <a:pt x="145" y="284"/>
                    <a:pt x="145" y="284"/>
                  </a:cubicBezTo>
                  <a:cubicBezTo>
                    <a:pt x="146" y="283"/>
                    <a:pt x="148" y="282"/>
                    <a:pt x="149" y="280"/>
                  </a:cubicBezTo>
                  <a:cubicBezTo>
                    <a:pt x="149" y="280"/>
                    <a:pt x="150" y="280"/>
                    <a:pt x="150" y="280"/>
                  </a:cubicBezTo>
                  <a:cubicBezTo>
                    <a:pt x="167" y="263"/>
                    <a:pt x="178" y="240"/>
                    <a:pt x="178" y="215"/>
                  </a:cubicBezTo>
                  <a:cubicBezTo>
                    <a:pt x="178" y="74"/>
                    <a:pt x="178" y="74"/>
                    <a:pt x="178" y="74"/>
                  </a:cubicBezTo>
                  <a:cubicBezTo>
                    <a:pt x="178" y="74"/>
                    <a:pt x="178" y="73"/>
                    <a:pt x="178" y="73"/>
                  </a:cubicBezTo>
                  <a:close/>
                </a:path>
              </a:pathLst>
            </a:custGeom>
            <a:solidFill>
              <a:srgbClr val="00549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ker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2486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itle 2"/>
          <p:cNvSpPr txBox="1">
            <a:spLocks/>
          </p:cNvSpPr>
          <p:nvPr/>
        </p:nvSpPr>
        <p:spPr>
          <a:xfrm>
            <a:off x="4400669" y="2678784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Video</a:t>
            </a:r>
          </a:p>
        </p:txBody>
      </p:sp>
      <p:sp>
        <p:nvSpPr>
          <p:cNvPr id="31" name="Title 2"/>
          <p:cNvSpPr txBox="1">
            <a:spLocks/>
          </p:cNvSpPr>
          <p:nvPr/>
        </p:nvSpPr>
        <p:spPr>
          <a:xfrm>
            <a:off x="4432420" y="2299745"/>
            <a:ext cx="6572131" cy="50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1" name="Video"/>
          <p:cNvGrpSpPr/>
          <p:nvPr userDrawn="1"/>
        </p:nvGrpSpPr>
        <p:grpSpPr bwMode="black">
          <a:xfrm>
            <a:off x="2662578" y="2281579"/>
            <a:ext cx="766423" cy="766422"/>
            <a:chOff x="1056368" y="615900"/>
            <a:chExt cx="766422" cy="766422"/>
          </a:xfrm>
        </p:grpSpPr>
        <p:sp>
          <p:nvSpPr>
            <p:cNvPr id="22" name="Oval 21"/>
            <p:cNvSpPr/>
            <p:nvPr/>
          </p:nvSpPr>
          <p:spPr bwMode="black">
            <a:xfrm>
              <a:off x="1056368" y="615900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 bwMode="black">
            <a:xfrm>
              <a:off x="1210979" y="846711"/>
              <a:ext cx="457200" cy="304800"/>
            </a:xfrm>
            <a:prstGeom prst="roundRect">
              <a:avLst>
                <a:gd name="adj" fmla="val 11198"/>
              </a:avLst>
            </a:prstGeom>
            <a:noFill/>
            <a:ln w="19050" cap="rnd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" name="Isosceles Triangle 31"/>
            <p:cNvSpPr/>
            <p:nvPr/>
          </p:nvSpPr>
          <p:spPr bwMode="black">
            <a:xfrm rot="5400000">
              <a:off x="1349309" y="921292"/>
              <a:ext cx="180541" cy="155638"/>
            </a:xfrm>
            <a:prstGeom prst="triangle">
              <a:avLst/>
            </a:prstGeom>
            <a:noFill/>
            <a:ln w="19050" cap="rnd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28093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le play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2"/>
          <p:cNvSpPr txBox="1">
            <a:spLocks/>
          </p:cNvSpPr>
          <p:nvPr/>
        </p:nvSpPr>
        <p:spPr>
          <a:xfrm>
            <a:off x="4400669" y="2320183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Role play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5" name="Paired discussion"/>
          <p:cNvGrpSpPr/>
          <p:nvPr userDrawn="1"/>
        </p:nvGrpSpPr>
        <p:grpSpPr>
          <a:xfrm>
            <a:off x="2667001" y="2281579"/>
            <a:ext cx="766423" cy="766422"/>
            <a:chOff x="6127254" y="2202852"/>
            <a:chExt cx="766422" cy="766422"/>
          </a:xfrm>
        </p:grpSpPr>
        <p:sp>
          <p:nvSpPr>
            <p:cNvPr id="26" name="Oval 25"/>
            <p:cNvSpPr/>
            <p:nvPr/>
          </p:nvSpPr>
          <p:spPr bwMode="black">
            <a:xfrm>
              <a:off x="6127254" y="22028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Oval Callout 26"/>
            <p:cNvSpPr/>
            <p:nvPr/>
          </p:nvSpPr>
          <p:spPr bwMode="auto">
            <a:xfrm flipV="1">
              <a:off x="6384086" y="2287737"/>
              <a:ext cx="252759" cy="216936"/>
            </a:xfrm>
            <a:prstGeom prst="wedgeEllipseCallout">
              <a:avLst>
                <a:gd name="adj1" fmla="val 3421"/>
                <a:gd name="adj2" fmla="val -73598"/>
              </a:avLst>
            </a:prstGeom>
            <a:noFill/>
            <a:ln w="22225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8" name="Group 27"/>
            <p:cNvGrpSpPr/>
            <p:nvPr/>
          </p:nvGrpSpPr>
          <p:grpSpPr bwMode="black">
            <a:xfrm>
              <a:off x="6270848" y="2545089"/>
              <a:ext cx="497735" cy="234978"/>
              <a:chOff x="1193797" y="868129"/>
              <a:chExt cx="497735" cy="234978"/>
            </a:xfrm>
          </p:grpSpPr>
          <p:sp>
            <p:nvSpPr>
              <p:cNvPr id="29" name="Freeform 28"/>
              <p:cNvSpPr/>
              <p:nvPr/>
            </p:nvSpPr>
            <p:spPr bwMode="black">
              <a:xfrm>
                <a:off x="1459101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29"/>
              <p:cNvSpPr/>
              <p:nvPr/>
            </p:nvSpPr>
            <p:spPr bwMode="black">
              <a:xfrm>
                <a:off x="1193797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6303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itle 2"/>
          <p:cNvSpPr txBox="1">
            <a:spLocks/>
          </p:cNvSpPr>
          <p:nvPr/>
        </p:nvSpPr>
        <p:spPr>
          <a:xfrm>
            <a:off x="4400669" y="2561046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Break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1" name="Break"/>
          <p:cNvGrpSpPr/>
          <p:nvPr userDrawn="1"/>
        </p:nvGrpSpPr>
        <p:grpSpPr>
          <a:xfrm>
            <a:off x="2662578" y="2281579"/>
            <a:ext cx="766423" cy="766422"/>
            <a:chOff x="609443" y="2291752"/>
            <a:chExt cx="766422" cy="766422"/>
          </a:xfrm>
        </p:grpSpPr>
        <p:sp>
          <p:nvSpPr>
            <p:cNvPr id="22" name="Oval 21"/>
            <p:cNvSpPr/>
            <p:nvPr/>
          </p:nvSpPr>
          <p:spPr bwMode="black">
            <a:xfrm>
              <a:off x="609443" y="22917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3" name="Group 22"/>
            <p:cNvGrpSpPr/>
            <p:nvPr/>
          </p:nvGrpSpPr>
          <p:grpSpPr bwMode="black">
            <a:xfrm>
              <a:off x="799742" y="2446982"/>
              <a:ext cx="423102" cy="447592"/>
              <a:chOff x="2795588" y="2217738"/>
              <a:chExt cx="795337" cy="841375"/>
            </a:xfrm>
            <a:solidFill>
              <a:srgbClr val="00549E"/>
            </a:solidFill>
          </p:grpSpPr>
          <p:sp>
            <p:nvSpPr>
              <p:cNvPr id="32" name="Freeform 7"/>
              <p:cNvSpPr>
                <a:spLocks noEditPoints="1"/>
              </p:cNvSpPr>
              <p:nvPr/>
            </p:nvSpPr>
            <p:spPr bwMode="black">
              <a:xfrm>
                <a:off x="2795588" y="2552700"/>
                <a:ext cx="795337" cy="506413"/>
              </a:xfrm>
              <a:custGeom>
                <a:avLst/>
                <a:gdLst>
                  <a:gd name="T0" fmla="*/ 2718 w 3504"/>
                  <a:gd name="T1" fmla="*/ 1291 h 2229"/>
                  <a:gd name="T2" fmla="*/ 2827 w 3504"/>
                  <a:gd name="T3" fmla="*/ 1262 h 2229"/>
                  <a:gd name="T4" fmla="*/ 2921 w 3504"/>
                  <a:gd name="T5" fmla="*/ 1215 h 2229"/>
                  <a:gd name="T6" fmla="*/ 3002 w 3504"/>
                  <a:gd name="T7" fmla="*/ 1157 h 2229"/>
                  <a:gd name="T8" fmla="*/ 3071 w 3504"/>
                  <a:gd name="T9" fmla="*/ 1088 h 2229"/>
                  <a:gd name="T10" fmla="*/ 3129 w 3504"/>
                  <a:gd name="T11" fmla="*/ 1011 h 2229"/>
                  <a:gd name="T12" fmla="*/ 3176 w 3504"/>
                  <a:gd name="T13" fmla="*/ 931 h 2229"/>
                  <a:gd name="T14" fmla="*/ 3213 w 3504"/>
                  <a:gd name="T15" fmla="*/ 849 h 2229"/>
                  <a:gd name="T16" fmla="*/ 3244 w 3504"/>
                  <a:gd name="T17" fmla="*/ 770 h 2229"/>
                  <a:gd name="T18" fmla="*/ 3266 w 3504"/>
                  <a:gd name="T19" fmla="*/ 697 h 2229"/>
                  <a:gd name="T20" fmla="*/ 3282 w 3504"/>
                  <a:gd name="T21" fmla="*/ 632 h 2229"/>
                  <a:gd name="T22" fmla="*/ 211 w 3504"/>
                  <a:gd name="T23" fmla="*/ 205 h 2229"/>
                  <a:gd name="T24" fmla="*/ 499 w 3504"/>
                  <a:gd name="T25" fmla="*/ 1901 h 2229"/>
                  <a:gd name="T26" fmla="*/ 537 w 3504"/>
                  <a:gd name="T27" fmla="*/ 1954 h 2229"/>
                  <a:gd name="T28" fmla="*/ 590 w 3504"/>
                  <a:gd name="T29" fmla="*/ 1997 h 2229"/>
                  <a:gd name="T30" fmla="*/ 653 w 3504"/>
                  <a:gd name="T31" fmla="*/ 2022 h 2229"/>
                  <a:gd name="T32" fmla="*/ 2262 w 3504"/>
                  <a:gd name="T33" fmla="*/ 2025 h 2229"/>
                  <a:gd name="T34" fmla="*/ 2324 w 3504"/>
                  <a:gd name="T35" fmla="*/ 2012 h 2229"/>
                  <a:gd name="T36" fmla="*/ 2377 w 3504"/>
                  <a:gd name="T37" fmla="*/ 1979 h 2229"/>
                  <a:gd name="T38" fmla="*/ 2418 w 3504"/>
                  <a:gd name="T39" fmla="*/ 1930 h 2229"/>
                  <a:gd name="T40" fmla="*/ 2438 w 3504"/>
                  <a:gd name="T41" fmla="*/ 1872 h 2229"/>
                  <a:gd name="T42" fmla="*/ 211 w 3504"/>
                  <a:gd name="T43" fmla="*/ 205 h 2229"/>
                  <a:gd name="T44" fmla="*/ 2685 w 3504"/>
                  <a:gd name="T45" fmla="*/ 0 h 2229"/>
                  <a:gd name="T46" fmla="*/ 2743 w 3504"/>
                  <a:gd name="T47" fmla="*/ 10 h 2229"/>
                  <a:gd name="T48" fmla="*/ 2795 w 3504"/>
                  <a:gd name="T49" fmla="*/ 39 h 2229"/>
                  <a:gd name="T50" fmla="*/ 2834 w 3504"/>
                  <a:gd name="T51" fmla="*/ 83 h 2229"/>
                  <a:gd name="T52" fmla="*/ 2855 w 3504"/>
                  <a:gd name="T53" fmla="*/ 137 h 2229"/>
                  <a:gd name="T54" fmla="*/ 2857 w 3504"/>
                  <a:gd name="T55" fmla="*/ 196 h 2229"/>
                  <a:gd name="T56" fmla="*/ 3402 w 3504"/>
                  <a:gd name="T57" fmla="*/ 427 h 2229"/>
                  <a:gd name="T58" fmla="*/ 3443 w 3504"/>
                  <a:gd name="T59" fmla="*/ 437 h 2229"/>
                  <a:gd name="T60" fmla="*/ 3477 w 3504"/>
                  <a:gd name="T61" fmla="*/ 461 h 2229"/>
                  <a:gd name="T62" fmla="*/ 3499 w 3504"/>
                  <a:gd name="T63" fmla="*/ 497 h 2229"/>
                  <a:gd name="T64" fmla="*/ 3504 w 3504"/>
                  <a:gd name="T65" fmla="*/ 539 h 2229"/>
                  <a:gd name="T66" fmla="*/ 3493 w 3504"/>
                  <a:gd name="T67" fmla="*/ 620 h 2229"/>
                  <a:gd name="T68" fmla="*/ 3475 w 3504"/>
                  <a:gd name="T69" fmla="*/ 709 h 2229"/>
                  <a:gd name="T70" fmla="*/ 3448 w 3504"/>
                  <a:gd name="T71" fmla="*/ 804 h 2229"/>
                  <a:gd name="T72" fmla="*/ 3413 w 3504"/>
                  <a:gd name="T73" fmla="*/ 902 h 2229"/>
                  <a:gd name="T74" fmla="*/ 3369 w 3504"/>
                  <a:gd name="T75" fmla="*/ 999 h 2229"/>
                  <a:gd name="T76" fmla="*/ 3316 w 3504"/>
                  <a:gd name="T77" fmla="*/ 1096 h 2229"/>
                  <a:gd name="T78" fmla="*/ 3252 w 3504"/>
                  <a:gd name="T79" fmla="*/ 1186 h 2229"/>
                  <a:gd name="T80" fmla="*/ 3176 w 3504"/>
                  <a:gd name="T81" fmla="*/ 1271 h 2229"/>
                  <a:gd name="T82" fmla="*/ 3090 w 3504"/>
                  <a:gd name="T83" fmla="*/ 1346 h 2229"/>
                  <a:gd name="T84" fmla="*/ 2993 w 3504"/>
                  <a:gd name="T85" fmla="*/ 1409 h 2229"/>
                  <a:gd name="T86" fmla="*/ 2881 w 3504"/>
                  <a:gd name="T87" fmla="*/ 1458 h 2229"/>
                  <a:gd name="T88" fmla="*/ 2758 w 3504"/>
                  <a:gd name="T89" fmla="*/ 1490 h 2229"/>
                  <a:gd name="T90" fmla="*/ 2640 w 3504"/>
                  <a:gd name="T91" fmla="*/ 1897 h 2229"/>
                  <a:gd name="T92" fmla="*/ 2614 w 3504"/>
                  <a:gd name="T93" fmla="*/ 1994 h 2229"/>
                  <a:gd name="T94" fmla="*/ 2564 w 3504"/>
                  <a:gd name="T95" fmla="*/ 2078 h 2229"/>
                  <a:gd name="T96" fmla="*/ 2495 w 3504"/>
                  <a:gd name="T97" fmla="*/ 2148 h 2229"/>
                  <a:gd name="T98" fmla="*/ 2410 w 3504"/>
                  <a:gd name="T99" fmla="*/ 2199 h 2229"/>
                  <a:gd name="T100" fmla="*/ 2313 w 3504"/>
                  <a:gd name="T101" fmla="*/ 2226 h 2229"/>
                  <a:gd name="T102" fmla="*/ 685 w 3504"/>
                  <a:gd name="T103" fmla="*/ 2229 h 2229"/>
                  <a:gd name="T104" fmla="*/ 588 w 3504"/>
                  <a:gd name="T105" fmla="*/ 2215 h 2229"/>
                  <a:gd name="T106" fmla="*/ 495 w 3504"/>
                  <a:gd name="T107" fmla="*/ 2178 h 2229"/>
                  <a:gd name="T108" fmla="*/ 415 w 3504"/>
                  <a:gd name="T109" fmla="*/ 2120 h 2229"/>
                  <a:gd name="T110" fmla="*/ 348 w 3504"/>
                  <a:gd name="T111" fmla="*/ 2045 h 2229"/>
                  <a:gd name="T112" fmla="*/ 303 w 3504"/>
                  <a:gd name="T113" fmla="*/ 1957 h 2229"/>
                  <a:gd name="T114" fmla="*/ 3 w 3504"/>
                  <a:gd name="T115" fmla="*/ 199 h 2229"/>
                  <a:gd name="T116" fmla="*/ 1 w 3504"/>
                  <a:gd name="T117" fmla="*/ 142 h 2229"/>
                  <a:gd name="T118" fmla="*/ 20 w 3504"/>
                  <a:gd name="T119" fmla="*/ 86 h 2229"/>
                  <a:gd name="T120" fmla="*/ 57 w 3504"/>
                  <a:gd name="T121" fmla="*/ 40 h 2229"/>
                  <a:gd name="T122" fmla="*/ 108 w 3504"/>
                  <a:gd name="T123" fmla="*/ 11 h 2229"/>
                  <a:gd name="T124" fmla="*/ 168 w 3504"/>
                  <a:gd name="T125" fmla="*/ 0 h 2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504" h="2229">
                    <a:moveTo>
                      <a:pt x="2801" y="632"/>
                    </a:moveTo>
                    <a:lnTo>
                      <a:pt x="2718" y="1291"/>
                    </a:lnTo>
                    <a:lnTo>
                      <a:pt x="2773" y="1278"/>
                    </a:lnTo>
                    <a:lnTo>
                      <a:pt x="2827" y="1262"/>
                    </a:lnTo>
                    <a:lnTo>
                      <a:pt x="2876" y="1241"/>
                    </a:lnTo>
                    <a:lnTo>
                      <a:pt x="2921" y="1215"/>
                    </a:lnTo>
                    <a:lnTo>
                      <a:pt x="2963" y="1187"/>
                    </a:lnTo>
                    <a:lnTo>
                      <a:pt x="3002" y="1157"/>
                    </a:lnTo>
                    <a:lnTo>
                      <a:pt x="3038" y="1124"/>
                    </a:lnTo>
                    <a:lnTo>
                      <a:pt x="3071" y="1088"/>
                    </a:lnTo>
                    <a:lnTo>
                      <a:pt x="3101" y="1050"/>
                    </a:lnTo>
                    <a:lnTo>
                      <a:pt x="3129" y="1011"/>
                    </a:lnTo>
                    <a:lnTo>
                      <a:pt x="3153" y="972"/>
                    </a:lnTo>
                    <a:lnTo>
                      <a:pt x="3176" y="931"/>
                    </a:lnTo>
                    <a:lnTo>
                      <a:pt x="3196" y="889"/>
                    </a:lnTo>
                    <a:lnTo>
                      <a:pt x="3213" y="849"/>
                    </a:lnTo>
                    <a:lnTo>
                      <a:pt x="3230" y="809"/>
                    </a:lnTo>
                    <a:lnTo>
                      <a:pt x="3244" y="770"/>
                    </a:lnTo>
                    <a:lnTo>
                      <a:pt x="3255" y="733"/>
                    </a:lnTo>
                    <a:lnTo>
                      <a:pt x="3266" y="697"/>
                    </a:lnTo>
                    <a:lnTo>
                      <a:pt x="3274" y="663"/>
                    </a:lnTo>
                    <a:lnTo>
                      <a:pt x="3282" y="632"/>
                    </a:lnTo>
                    <a:lnTo>
                      <a:pt x="2801" y="632"/>
                    </a:lnTo>
                    <a:close/>
                    <a:moveTo>
                      <a:pt x="211" y="205"/>
                    </a:moveTo>
                    <a:lnTo>
                      <a:pt x="490" y="1871"/>
                    </a:lnTo>
                    <a:lnTo>
                      <a:pt x="499" y="1901"/>
                    </a:lnTo>
                    <a:lnTo>
                      <a:pt x="516" y="1929"/>
                    </a:lnTo>
                    <a:lnTo>
                      <a:pt x="537" y="1954"/>
                    </a:lnTo>
                    <a:lnTo>
                      <a:pt x="562" y="1978"/>
                    </a:lnTo>
                    <a:lnTo>
                      <a:pt x="590" y="1997"/>
                    </a:lnTo>
                    <a:lnTo>
                      <a:pt x="621" y="2012"/>
                    </a:lnTo>
                    <a:lnTo>
                      <a:pt x="653" y="2022"/>
                    </a:lnTo>
                    <a:lnTo>
                      <a:pt x="685" y="2025"/>
                    </a:lnTo>
                    <a:lnTo>
                      <a:pt x="2262" y="2025"/>
                    </a:lnTo>
                    <a:lnTo>
                      <a:pt x="2294" y="2022"/>
                    </a:lnTo>
                    <a:lnTo>
                      <a:pt x="2324" y="2012"/>
                    </a:lnTo>
                    <a:lnTo>
                      <a:pt x="2352" y="1998"/>
                    </a:lnTo>
                    <a:lnTo>
                      <a:pt x="2377" y="1979"/>
                    </a:lnTo>
                    <a:lnTo>
                      <a:pt x="2399" y="1957"/>
                    </a:lnTo>
                    <a:lnTo>
                      <a:pt x="2418" y="1930"/>
                    </a:lnTo>
                    <a:lnTo>
                      <a:pt x="2431" y="1902"/>
                    </a:lnTo>
                    <a:lnTo>
                      <a:pt x="2438" y="1872"/>
                    </a:lnTo>
                    <a:lnTo>
                      <a:pt x="2650" y="205"/>
                    </a:lnTo>
                    <a:lnTo>
                      <a:pt x="211" y="205"/>
                    </a:lnTo>
                    <a:close/>
                    <a:moveTo>
                      <a:pt x="168" y="0"/>
                    </a:moveTo>
                    <a:lnTo>
                      <a:pt x="2685" y="0"/>
                    </a:lnTo>
                    <a:lnTo>
                      <a:pt x="2715" y="3"/>
                    </a:lnTo>
                    <a:lnTo>
                      <a:pt x="2743" y="10"/>
                    </a:lnTo>
                    <a:lnTo>
                      <a:pt x="2771" y="22"/>
                    </a:lnTo>
                    <a:lnTo>
                      <a:pt x="2795" y="39"/>
                    </a:lnTo>
                    <a:lnTo>
                      <a:pt x="2816" y="58"/>
                    </a:lnTo>
                    <a:lnTo>
                      <a:pt x="2834" y="83"/>
                    </a:lnTo>
                    <a:lnTo>
                      <a:pt x="2847" y="108"/>
                    </a:lnTo>
                    <a:lnTo>
                      <a:pt x="2855" y="137"/>
                    </a:lnTo>
                    <a:lnTo>
                      <a:pt x="2858" y="166"/>
                    </a:lnTo>
                    <a:lnTo>
                      <a:pt x="2857" y="196"/>
                    </a:lnTo>
                    <a:lnTo>
                      <a:pt x="2828" y="427"/>
                    </a:lnTo>
                    <a:lnTo>
                      <a:pt x="3402" y="427"/>
                    </a:lnTo>
                    <a:lnTo>
                      <a:pt x="3424" y="430"/>
                    </a:lnTo>
                    <a:lnTo>
                      <a:pt x="3443" y="437"/>
                    </a:lnTo>
                    <a:lnTo>
                      <a:pt x="3462" y="447"/>
                    </a:lnTo>
                    <a:lnTo>
                      <a:pt x="3477" y="461"/>
                    </a:lnTo>
                    <a:lnTo>
                      <a:pt x="3490" y="478"/>
                    </a:lnTo>
                    <a:lnTo>
                      <a:pt x="3499" y="497"/>
                    </a:lnTo>
                    <a:lnTo>
                      <a:pt x="3504" y="518"/>
                    </a:lnTo>
                    <a:lnTo>
                      <a:pt x="3504" y="539"/>
                    </a:lnTo>
                    <a:lnTo>
                      <a:pt x="3499" y="578"/>
                    </a:lnTo>
                    <a:lnTo>
                      <a:pt x="3493" y="620"/>
                    </a:lnTo>
                    <a:lnTo>
                      <a:pt x="3485" y="664"/>
                    </a:lnTo>
                    <a:lnTo>
                      <a:pt x="3475" y="709"/>
                    </a:lnTo>
                    <a:lnTo>
                      <a:pt x="3462" y="757"/>
                    </a:lnTo>
                    <a:lnTo>
                      <a:pt x="3448" y="804"/>
                    </a:lnTo>
                    <a:lnTo>
                      <a:pt x="3432" y="853"/>
                    </a:lnTo>
                    <a:lnTo>
                      <a:pt x="3413" y="902"/>
                    </a:lnTo>
                    <a:lnTo>
                      <a:pt x="3392" y="951"/>
                    </a:lnTo>
                    <a:lnTo>
                      <a:pt x="3369" y="999"/>
                    </a:lnTo>
                    <a:lnTo>
                      <a:pt x="3344" y="1048"/>
                    </a:lnTo>
                    <a:lnTo>
                      <a:pt x="3316" y="1096"/>
                    </a:lnTo>
                    <a:lnTo>
                      <a:pt x="3284" y="1142"/>
                    </a:lnTo>
                    <a:lnTo>
                      <a:pt x="3252" y="1186"/>
                    </a:lnTo>
                    <a:lnTo>
                      <a:pt x="3216" y="1230"/>
                    </a:lnTo>
                    <a:lnTo>
                      <a:pt x="3176" y="1271"/>
                    </a:lnTo>
                    <a:lnTo>
                      <a:pt x="3135" y="1310"/>
                    </a:lnTo>
                    <a:lnTo>
                      <a:pt x="3090" y="1346"/>
                    </a:lnTo>
                    <a:lnTo>
                      <a:pt x="3043" y="1379"/>
                    </a:lnTo>
                    <a:lnTo>
                      <a:pt x="2993" y="1409"/>
                    </a:lnTo>
                    <a:lnTo>
                      <a:pt x="2938" y="1436"/>
                    </a:lnTo>
                    <a:lnTo>
                      <a:pt x="2881" y="1458"/>
                    </a:lnTo>
                    <a:lnTo>
                      <a:pt x="2821" y="1476"/>
                    </a:lnTo>
                    <a:lnTo>
                      <a:pt x="2758" y="1490"/>
                    </a:lnTo>
                    <a:lnTo>
                      <a:pt x="2691" y="1498"/>
                    </a:lnTo>
                    <a:lnTo>
                      <a:pt x="2640" y="1897"/>
                    </a:lnTo>
                    <a:lnTo>
                      <a:pt x="2630" y="1946"/>
                    </a:lnTo>
                    <a:lnTo>
                      <a:pt x="2614" y="1994"/>
                    </a:lnTo>
                    <a:lnTo>
                      <a:pt x="2591" y="2038"/>
                    </a:lnTo>
                    <a:lnTo>
                      <a:pt x="2564" y="2078"/>
                    </a:lnTo>
                    <a:lnTo>
                      <a:pt x="2531" y="2116"/>
                    </a:lnTo>
                    <a:lnTo>
                      <a:pt x="2495" y="2148"/>
                    </a:lnTo>
                    <a:lnTo>
                      <a:pt x="2453" y="2176"/>
                    </a:lnTo>
                    <a:lnTo>
                      <a:pt x="2410" y="2199"/>
                    </a:lnTo>
                    <a:lnTo>
                      <a:pt x="2362" y="2215"/>
                    </a:lnTo>
                    <a:lnTo>
                      <a:pt x="2313" y="2226"/>
                    </a:lnTo>
                    <a:lnTo>
                      <a:pt x="2262" y="2229"/>
                    </a:lnTo>
                    <a:lnTo>
                      <a:pt x="685" y="2229"/>
                    </a:lnTo>
                    <a:lnTo>
                      <a:pt x="636" y="2226"/>
                    </a:lnTo>
                    <a:lnTo>
                      <a:pt x="588" y="2215"/>
                    </a:lnTo>
                    <a:lnTo>
                      <a:pt x="540" y="2200"/>
                    </a:lnTo>
                    <a:lnTo>
                      <a:pt x="495" y="2178"/>
                    </a:lnTo>
                    <a:lnTo>
                      <a:pt x="453" y="2152"/>
                    </a:lnTo>
                    <a:lnTo>
                      <a:pt x="415" y="2120"/>
                    </a:lnTo>
                    <a:lnTo>
                      <a:pt x="380" y="2084"/>
                    </a:lnTo>
                    <a:lnTo>
                      <a:pt x="348" y="2045"/>
                    </a:lnTo>
                    <a:lnTo>
                      <a:pt x="323" y="2003"/>
                    </a:lnTo>
                    <a:lnTo>
                      <a:pt x="303" y="1957"/>
                    </a:lnTo>
                    <a:lnTo>
                      <a:pt x="289" y="1909"/>
                    </a:lnTo>
                    <a:lnTo>
                      <a:pt x="3" y="199"/>
                    </a:lnTo>
                    <a:lnTo>
                      <a:pt x="0" y="170"/>
                    </a:lnTo>
                    <a:lnTo>
                      <a:pt x="1" y="142"/>
                    </a:lnTo>
                    <a:lnTo>
                      <a:pt x="8" y="113"/>
                    </a:lnTo>
                    <a:lnTo>
                      <a:pt x="20" y="86"/>
                    </a:lnTo>
                    <a:lnTo>
                      <a:pt x="37" y="61"/>
                    </a:lnTo>
                    <a:lnTo>
                      <a:pt x="57" y="40"/>
                    </a:lnTo>
                    <a:lnTo>
                      <a:pt x="81" y="22"/>
                    </a:lnTo>
                    <a:lnTo>
                      <a:pt x="108" y="11"/>
                    </a:lnTo>
                    <a:lnTo>
                      <a:pt x="138" y="3"/>
                    </a:lnTo>
                    <a:lnTo>
                      <a:pt x="1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8"/>
              <p:cNvSpPr>
                <a:spLocks/>
              </p:cNvSpPr>
              <p:nvPr/>
            </p:nvSpPr>
            <p:spPr bwMode="black">
              <a:xfrm>
                <a:off x="3154363" y="2217738"/>
                <a:ext cx="92075" cy="295275"/>
              </a:xfrm>
              <a:custGeom>
                <a:avLst/>
                <a:gdLst>
                  <a:gd name="T0" fmla="*/ 192 w 408"/>
                  <a:gd name="T1" fmla="*/ 3 h 1305"/>
                  <a:gd name="T2" fmla="*/ 233 w 408"/>
                  <a:gd name="T3" fmla="*/ 24 h 1305"/>
                  <a:gd name="T4" fmla="*/ 249 w 408"/>
                  <a:gd name="T5" fmla="*/ 39 h 1305"/>
                  <a:gd name="T6" fmla="*/ 279 w 408"/>
                  <a:gd name="T7" fmla="*/ 68 h 1305"/>
                  <a:gd name="T8" fmla="*/ 315 w 408"/>
                  <a:gd name="T9" fmla="*/ 111 h 1305"/>
                  <a:gd name="T10" fmla="*/ 352 w 408"/>
                  <a:gd name="T11" fmla="*/ 164 h 1305"/>
                  <a:gd name="T12" fmla="*/ 384 w 408"/>
                  <a:gd name="T13" fmla="*/ 228 h 1305"/>
                  <a:gd name="T14" fmla="*/ 403 w 408"/>
                  <a:gd name="T15" fmla="*/ 300 h 1305"/>
                  <a:gd name="T16" fmla="*/ 407 w 408"/>
                  <a:gd name="T17" fmla="*/ 363 h 1305"/>
                  <a:gd name="T18" fmla="*/ 399 w 408"/>
                  <a:gd name="T19" fmla="*/ 416 h 1305"/>
                  <a:gd name="T20" fmla="*/ 377 w 408"/>
                  <a:gd name="T21" fmla="*/ 476 h 1305"/>
                  <a:gd name="T22" fmla="*/ 335 w 408"/>
                  <a:gd name="T23" fmla="*/ 539 h 1305"/>
                  <a:gd name="T24" fmla="*/ 284 w 408"/>
                  <a:gd name="T25" fmla="*/ 595 h 1305"/>
                  <a:gd name="T26" fmla="*/ 247 w 408"/>
                  <a:gd name="T27" fmla="*/ 661 h 1305"/>
                  <a:gd name="T28" fmla="*/ 220 w 408"/>
                  <a:gd name="T29" fmla="*/ 744 h 1305"/>
                  <a:gd name="T30" fmla="*/ 206 w 408"/>
                  <a:gd name="T31" fmla="*/ 839 h 1305"/>
                  <a:gd name="T32" fmla="*/ 205 w 408"/>
                  <a:gd name="T33" fmla="*/ 939 h 1305"/>
                  <a:gd name="T34" fmla="*/ 214 w 408"/>
                  <a:gd name="T35" fmla="*/ 1011 h 1305"/>
                  <a:gd name="T36" fmla="*/ 229 w 408"/>
                  <a:gd name="T37" fmla="*/ 1062 h 1305"/>
                  <a:gd name="T38" fmla="*/ 244 w 408"/>
                  <a:gd name="T39" fmla="*/ 1093 h 1305"/>
                  <a:gd name="T40" fmla="*/ 276 w 408"/>
                  <a:gd name="T41" fmla="*/ 1109 h 1305"/>
                  <a:gd name="T42" fmla="*/ 315 w 408"/>
                  <a:gd name="T43" fmla="*/ 1139 h 1305"/>
                  <a:gd name="T44" fmla="*/ 337 w 408"/>
                  <a:gd name="T45" fmla="*/ 1184 h 1305"/>
                  <a:gd name="T46" fmla="*/ 334 w 408"/>
                  <a:gd name="T47" fmla="*/ 1235 h 1305"/>
                  <a:gd name="T48" fmla="*/ 306 w 408"/>
                  <a:gd name="T49" fmla="*/ 1278 h 1305"/>
                  <a:gd name="T50" fmla="*/ 263 w 408"/>
                  <a:gd name="T51" fmla="*/ 1301 h 1305"/>
                  <a:gd name="T52" fmla="*/ 229 w 408"/>
                  <a:gd name="T53" fmla="*/ 1305 h 1305"/>
                  <a:gd name="T54" fmla="*/ 199 w 408"/>
                  <a:gd name="T55" fmla="*/ 1300 h 1305"/>
                  <a:gd name="T56" fmla="*/ 162 w 408"/>
                  <a:gd name="T57" fmla="*/ 1287 h 1305"/>
                  <a:gd name="T58" fmla="*/ 124 w 408"/>
                  <a:gd name="T59" fmla="*/ 1263 h 1305"/>
                  <a:gd name="T60" fmla="*/ 85 w 408"/>
                  <a:gd name="T61" fmla="*/ 1222 h 1305"/>
                  <a:gd name="T62" fmla="*/ 50 w 408"/>
                  <a:gd name="T63" fmla="*/ 1164 h 1305"/>
                  <a:gd name="T64" fmla="*/ 24 w 408"/>
                  <a:gd name="T65" fmla="*/ 1091 h 1305"/>
                  <a:gd name="T66" fmla="*/ 7 w 408"/>
                  <a:gd name="T67" fmla="*/ 1009 h 1305"/>
                  <a:gd name="T68" fmla="*/ 0 w 408"/>
                  <a:gd name="T69" fmla="*/ 916 h 1305"/>
                  <a:gd name="T70" fmla="*/ 4 w 408"/>
                  <a:gd name="T71" fmla="*/ 819 h 1305"/>
                  <a:gd name="T72" fmla="*/ 18 w 408"/>
                  <a:gd name="T73" fmla="*/ 719 h 1305"/>
                  <a:gd name="T74" fmla="*/ 43 w 408"/>
                  <a:gd name="T75" fmla="*/ 622 h 1305"/>
                  <a:gd name="T76" fmla="*/ 82 w 408"/>
                  <a:gd name="T77" fmla="*/ 533 h 1305"/>
                  <a:gd name="T78" fmla="*/ 134 w 408"/>
                  <a:gd name="T79" fmla="*/ 454 h 1305"/>
                  <a:gd name="T80" fmla="*/ 180 w 408"/>
                  <a:gd name="T81" fmla="*/ 405 h 1305"/>
                  <a:gd name="T82" fmla="*/ 198 w 408"/>
                  <a:gd name="T83" fmla="*/ 376 h 1305"/>
                  <a:gd name="T84" fmla="*/ 204 w 408"/>
                  <a:gd name="T85" fmla="*/ 354 h 1305"/>
                  <a:gd name="T86" fmla="*/ 200 w 408"/>
                  <a:gd name="T87" fmla="*/ 323 h 1305"/>
                  <a:gd name="T88" fmla="*/ 182 w 408"/>
                  <a:gd name="T89" fmla="*/ 278 h 1305"/>
                  <a:gd name="T90" fmla="*/ 155 w 408"/>
                  <a:gd name="T91" fmla="*/ 236 h 1305"/>
                  <a:gd name="T92" fmla="*/ 125 w 408"/>
                  <a:gd name="T93" fmla="*/ 202 h 1305"/>
                  <a:gd name="T94" fmla="*/ 103 w 408"/>
                  <a:gd name="T95" fmla="*/ 180 h 1305"/>
                  <a:gd name="T96" fmla="*/ 75 w 408"/>
                  <a:gd name="T97" fmla="*/ 144 h 1305"/>
                  <a:gd name="T98" fmla="*/ 65 w 408"/>
                  <a:gd name="T99" fmla="*/ 100 h 1305"/>
                  <a:gd name="T100" fmla="*/ 77 w 408"/>
                  <a:gd name="T101" fmla="*/ 57 h 1305"/>
                  <a:gd name="T102" fmla="*/ 106 w 408"/>
                  <a:gd name="T103" fmla="*/ 21 h 1305"/>
                  <a:gd name="T104" fmla="*/ 147 w 408"/>
                  <a:gd name="T105" fmla="*/ 3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8" h="1305">
                    <a:moveTo>
                      <a:pt x="170" y="0"/>
                    </a:moveTo>
                    <a:lnTo>
                      <a:pt x="192" y="3"/>
                    </a:lnTo>
                    <a:lnTo>
                      <a:pt x="213" y="11"/>
                    </a:lnTo>
                    <a:lnTo>
                      <a:pt x="233" y="24"/>
                    </a:lnTo>
                    <a:lnTo>
                      <a:pt x="239" y="29"/>
                    </a:lnTo>
                    <a:lnTo>
                      <a:pt x="249" y="39"/>
                    </a:lnTo>
                    <a:lnTo>
                      <a:pt x="263" y="52"/>
                    </a:lnTo>
                    <a:lnTo>
                      <a:pt x="279" y="68"/>
                    </a:lnTo>
                    <a:lnTo>
                      <a:pt x="297" y="88"/>
                    </a:lnTo>
                    <a:lnTo>
                      <a:pt x="315" y="111"/>
                    </a:lnTo>
                    <a:lnTo>
                      <a:pt x="334" y="136"/>
                    </a:lnTo>
                    <a:lnTo>
                      <a:pt x="352" y="164"/>
                    </a:lnTo>
                    <a:lnTo>
                      <a:pt x="369" y="195"/>
                    </a:lnTo>
                    <a:lnTo>
                      <a:pt x="384" y="228"/>
                    </a:lnTo>
                    <a:lnTo>
                      <a:pt x="395" y="263"/>
                    </a:lnTo>
                    <a:lnTo>
                      <a:pt x="403" y="300"/>
                    </a:lnTo>
                    <a:lnTo>
                      <a:pt x="408" y="338"/>
                    </a:lnTo>
                    <a:lnTo>
                      <a:pt x="407" y="363"/>
                    </a:lnTo>
                    <a:lnTo>
                      <a:pt x="405" y="388"/>
                    </a:lnTo>
                    <a:lnTo>
                      <a:pt x="399" y="416"/>
                    </a:lnTo>
                    <a:lnTo>
                      <a:pt x="391" y="445"/>
                    </a:lnTo>
                    <a:lnTo>
                      <a:pt x="377" y="476"/>
                    </a:lnTo>
                    <a:lnTo>
                      <a:pt x="359" y="508"/>
                    </a:lnTo>
                    <a:lnTo>
                      <a:pt x="335" y="539"/>
                    </a:lnTo>
                    <a:lnTo>
                      <a:pt x="306" y="570"/>
                    </a:lnTo>
                    <a:lnTo>
                      <a:pt x="284" y="595"/>
                    </a:lnTo>
                    <a:lnTo>
                      <a:pt x="264" y="625"/>
                    </a:lnTo>
                    <a:lnTo>
                      <a:pt x="247" y="661"/>
                    </a:lnTo>
                    <a:lnTo>
                      <a:pt x="232" y="701"/>
                    </a:lnTo>
                    <a:lnTo>
                      <a:pt x="220" y="744"/>
                    </a:lnTo>
                    <a:lnTo>
                      <a:pt x="212" y="791"/>
                    </a:lnTo>
                    <a:lnTo>
                      <a:pt x="206" y="839"/>
                    </a:lnTo>
                    <a:lnTo>
                      <a:pt x="204" y="889"/>
                    </a:lnTo>
                    <a:lnTo>
                      <a:pt x="205" y="939"/>
                    </a:lnTo>
                    <a:lnTo>
                      <a:pt x="208" y="977"/>
                    </a:lnTo>
                    <a:lnTo>
                      <a:pt x="214" y="1011"/>
                    </a:lnTo>
                    <a:lnTo>
                      <a:pt x="221" y="1039"/>
                    </a:lnTo>
                    <a:lnTo>
                      <a:pt x="229" y="1062"/>
                    </a:lnTo>
                    <a:lnTo>
                      <a:pt x="236" y="1081"/>
                    </a:lnTo>
                    <a:lnTo>
                      <a:pt x="244" y="1093"/>
                    </a:lnTo>
                    <a:lnTo>
                      <a:pt x="250" y="1102"/>
                    </a:lnTo>
                    <a:lnTo>
                      <a:pt x="276" y="1109"/>
                    </a:lnTo>
                    <a:lnTo>
                      <a:pt x="298" y="1121"/>
                    </a:lnTo>
                    <a:lnTo>
                      <a:pt x="315" y="1139"/>
                    </a:lnTo>
                    <a:lnTo>
                      <a:pt x="329" y="1160"/>
                    </a:lnTo>
                    <a:lnTo>
                      <a:pt x="337" y="1184"/>
                    </a:lnTo>
                    <a:lnTo>
                      <a:pt x="338" y="1210"/>
                    </a:lnTo>
                    <a:lnTo>
                      <a:pt x="334" y="1235"/>
                    </a:lnTo>
                    <a:lnTo>
                      <a:pt x="322" y="1258"/>
                    </a:lnTo>
                    <a:lnTo>
                      <a:pt x="306" y="1278"/>
                    </a:lnTo>
                    <a:lnTo>
                      <a:pt x="286" y="1292"/>
                    </a:lnTo>
                    <a:lnTo>
                      <a:pt x="263" y="1301"/>
                    </a:lnTo>
                    <a:lnTo>
                      <a:pt x="236" y="1305"/>
                    </a:lnTo>
                    <a:lnTo>
                      <a:pt x="229" y="1305"/>
                    </a:lnTo>
                    <a:lnTo>
                      <a:pt x="215" y="1304"/>
                    </a:lnTo>
                    <a:lnTo>
                      <a:pt x="199" y="1300"/>
                    </a:lnTo>
                    <a:lnTo>
                      <a:pt x="180" y="1295"/>
                    </a:lnTo>
                    <a:lnTo>
                      <a:pt x="162" y="1287"/>
                    </a:lnTo>
                    <a:lnTo>
                      <a:pt x="143" y="1277"/>
                    </a:lnTo>
                    <a:lnTo>
                      <a:pt x="124" y="1263"/>
                    </a:lnTo>
                    <a:lnTo>
                      <a:pt x="104" y="1244"/>
                    </a:lnTo>
                    <a:lnTo>
                      <a:pt x="85" y="1222"/>
                    </a:lnTo>
                    <a:lnTo>
                      <a:pt x="67" y="1197"/>
                    </a:lnTo>
                    <a:lnTo>
                      <a:pt x="50" y="1164"/>
                    </a:lnTo>
                    <a:lnTo>
                      <a:pt x="35" y="1127"/>
                    </a:lnTo>
                    <a:lnTo>
                      <a:pt x="24" y="1091"/>
                    </a:lnTo>
                    <a:lnTo>
                      <a:pt x="14" y="1052"/>
                    </a:lnTo>
                    <a:lnTo>
                      <a:pt x="7" y="1009"/>
                    </a:lnTo>
                    <a:lnTo>
                      <a:pt x="3" y="964"/>
                    </a:lnTo>
                    <a:lnTo>
                      <a:pt x="0" y="916"/>
                    </a:lnTo>
                    <a:lnTo>
                      <a:pt x="0" y="867"/>
                    </a:lnTo>
                    <a:lnTo>
                      <a:pt x="4" y="819"/>
                    </a:lnTo>
                    <a:lnTo>
                      <a:pt x="9" y="769"/>
                    </a:lnTo>
                    <a:lnTo>
                      <a:pt x="18" y="719"/>
                    </a:lnTo>
                    <a:lnTo>
                      <a:pt x="28" y="670"/>
                    </a:lnTo>
                    <a:lnTo>
                      <a:pt x="43" y="622"/>
                    </a:lnTo>
                    <a:lnTo>
                      <a:pt x="61" y="576"/>
                    </a:lnTo>
                    <a:lnTo>
                      <a:pt x="82" y="533"/>
                    </a:lnTo>
                    <a:lnTo>
                      <a:pt x="106" y="492"/>
                    </a:lnTo>
                    <a:lnTo>
                      <a:pt x="134" y="454"/>
                    </a:lnTo>
                    <a:lnTo>
                      <a:pt x="165" y="422"/>
                    </a:lnTo>
                    <a:lnTo>
                      <a:pt x="180" y="405"/>
                    </a:lnTo>
                    <a:lnTo>
                      <a:pt x="191" y="390"/>
                    </a:lnTo>
                    <a:lnTo>
                      <a:pt x="198" y="376"/>
                    </a:lnTo>
                    <a:lnTo>
                      <a:pt x="201" y="365"/>
                    </a:lnTo>
                    <a:lnTo>
                      <a:pt x="204" y="354"/>
                    </a:lnTo>
                    <a:lnTo>
                      <a:pt x="204" y="345"/>
                    </a:lnTo>
                    <a:lnTo>
                      <a:pt x="200" y="323"/>
                    </a:lnTo>
                    <a:lnTo>
                      <a:pt x="193" y="300"/>
                    </a:lnTo>
                    <a:lnTo>
                      <a:pt x="182" y="278"/>
                    </a:lnTo>
                    <a:lnTo>
                      <a:pt x="169" y="257"/>
                    </a:lnTo>
                    <a:lnTo>
                      <a:pt x="155" y="236"/>
                    </a:lnTo>
                    <a:lnTo>
                      <a:pt x="140" y="219"/>
                    </a:lnTo>
                    <a:lnTo>
                      <a:pt x="125" y="202"/>
                    </a:lnTo>
                    <a:lnTo>
                      <a:pt x="112" y="190"/>
                    </a:lnTo>
                    <a:lnTo>
                      <a:pt x="103" y="180"/>
                    </a:lnTo>
                    <a:lnTo>
                      <a:pt x="86" y="164"/>
                    </a:lnTo>
                    <a:lnTo>
                      <a:pt x="75" y="144"/>
                    </a:lnTo>
                    <a:lnTo>
                      <a:pt x="68" y="122"/>
                    </a:lnTo>
                    <a:lnTo>
                      <a:pt x="65" y="100"/>
                    </a:lnTo>
                    <a:lnTo>
                      <a:pt x="69" y="78"/>
                    </a:lnTo>
                    <a:lnTo>
                      <a:pt x="77" y="57"/>
                    </a:lnTo>
                    <a:lnTo>
                      <a:pt x="90" y="38"/>
                    </a:lnTo>
                    <a:lnTo>
                      <a:pt x="106" y="21"/>
                    </a:lnTo>
                    <a:lnTo>
                      <a:pt x="126" y="10"/>
                    </a:lnTo>
                    <a:lnTo>
                      <a:pt x="147" y="3"/>
                    </a:lnTo>
                    <a:lnTo>
                      <a:pt x="1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9"/>
              <p:cNvSpPr>
                <a:spLocks/>
              </p:cNvSpPr>
              <p:nvPr/>
            </p:nvSpPr>
            <p:spPr bwMode="black">
              <a:xfrm>
                <a:off x="2986088" y="2217738"/>
                <a:ext cx="93662" cy="295275"/>
              </a:xfrm>
              <a:custGeom>
                <a:avLst/>
                <a:gdLst>
                  <a:gd name="T0" fmla="*/ 191 w 407"/>
                  <a:gd name="T1" fmla="*/ 3 h 1305"/>
                  <a:gd name="T2" fmla="*/ 232 w 407"/>
                  <a:gd name="T3" fmla="*/ 24 h 1305"/>
                  <a:gd name="T4" fmla="*/ 249 w 407"/>
                  <a:gd name="T5" fmla="*/ 39 h 1305"/>
                  <a:gd name="T6" fmla="*/ 278 w 407"/>
                  <a:gd name="T7" fmla="*/ 68 h 1305"/>
                  <a:gd name="T8" fmla="*/ 314 w 407"/>
                  <a:gd name="T9" fmla="*/ 111 h 1305"/>
                  <a:gd name="T10" fmla="*/ 351 w 407"/>
                  <a:gd name="T11" fmla="*/ 164 h 1305"/>
                  <a:gd name="T12" fmla="*/ 383 w 407"/>
                  <a:gd name="T13" fmla="*/ 228 h 1305"/>
                  <a:gd name="T14" fmla="*/ 403 w 407"/>
                  <a:gd name="T15" fmla="*/ 300 h 1305"/>
                  <a:gd name="T16" fmla="*/ 407 w 407"/>
                  <a:gd name="T17" fmla="*/ 363 h 1305"/>
                  <a:gd name="T18" fmla="*/ 398 w 407"/>
                  <a:gd name="T19" fmla="*/ 416 h 1305"/>
                  <a:gd name="T20" fmla="*/ 376 w 407"/>
                  <a:gd name="T21" fmla="*/ 476 h 1305"/>
                  <a:gd name="T22" fmla="*/ 335 w 407"/>
                  <a:gd name="T23" fmla="*/ 539 h 1305"/>
                  <a:gd name="T24" fmla="*/ 282 w 407"/>
                  <a:gd name="T25" fmla="*/ 595 h 1305"/>
                  <a:gd name="T26" fmla="*/ 246 w 407"/>
                  <a:gd name="T27" fmla="*/ 661 h 1305"/>
                  <a:gd name="T28" fmla="*/ 220 w 407"/>
                  <a:gd name="T29" fmla="*/ 744 h 1305"/>
                  <a:gd name="T30" fmla="*/ 205 w 407"/>
                  <a:gd name="T31" fmla="*/ 839 h 1305"/>
                  <a:gd name="T32" fmla="*/ 205 w 407"/>
                  <a:gd name="T33" fmla="*/ 939 h 1305"/>
                  <a:gd name="T34" fmla="*/ 214 w 407"/>
                  <a:gd name="T35" fmla="*/ 1011 h 1305"/>
                  <a:gd name="T36" fmla="*/ 228 w 407"/>
                  <a:gd name="T37" fmla="*/ 1062 h 1305"/>
                  <a:gd name="T38" fmla="*/ 243 w 407"/>
                  <a:gd name="T39" fmla="*/ 1093 h 1305"/>
                  <a:gd name="T40" fmla="*/ 274 w 407"/>
                  <a:gd name="T41" fmla="*/ 1109 h 1305"/>
                  <a:gd name="T42" fmla="*/ 315 w 407"/>
                  <a:gd name="T43" fmla="*/ 1139 h 1305"/>
                  <a:gd name="T44" fmla="*/ 336 w 407"/>
                  <a:gd name="T45" fmla="*/ 1184 h 1305"/>
                  <a:gd name="T46" fmla="*/ 332 w 407"/>
                  <a:gd name="T47" fmla="*/ 1235 h 1305"/>
                  <a:gd name="T48" fmla="*/ 306 w 407"/>
                  <a:gd name="T49" fmla="*/ 1278 h 1305"/>
                  <a:gd name="T50" fmla="*/ 261 w 407"/>
                  <a:gd name="T51" fmla="*/ 1301 h 1305"/>
                  <a:gd name="T52" fmla="*/ 229 w 407"/>
                  <a:gd name="T53" fmla="*/ 1305 h 1305"/>
                  <a:gd name="T54" fmla="*/ 198 w 407"/>
                  <a:gd name="T55" fmla="*/ 1300 h 1305"/>
                  <a:gd name="T56" fmla="*/ 162 w 407"/>
                  <a:gd name="T57" fmla="*/ 1287 h 1305"/>
                  <a:gd name="T58" fmla="*/ 123 w 407"/>
                  <a:gd name="T59" fmla="*/ 1263 h 1305"/>
                  <a:gd name="T60" fmla="*/ 85 w 407"/>
                  <a:gd name="T61" fmla="*/ 1222 h 1305"/>
                  <a:gd name="T62" fmla="*/ 50 w 407"/>
                  <a:gd name="T63" fmla="*/ 1164 h 1305"/>
                  <a:gd name="T64" fmla="*/ 23 w 407"/>
                  <a:gd name="T65" fmla="*/ 1091 h 1305"/>
                  <a:gd name="T66" fmla="*/ 7 w 407"/>
                  <a:gd name="T67" fmla="*/ 1009 h 1305"/>
                  <a:gd name="T68" fmla="*/ 0 w 407"/>
                  <a:gd name="T69" fmla="*/ 916 h 1305"/>
                  <a:gd name="T70" fmla="*/ 2 w 407"/>
                  <a:gd name="T71" fmla="*/ 819 h 1305"/>
                  <a:gd name="T72" fmla="*/ 16 w 407"/>
                  <a:gd name="T73" fmla="*/ 719 h 1305"/>
                  <a:gd name="T74" fmla="*/ 42 w 407"/>
                  <a:gd name="T75" fmla="*/ 622 h 1305"/>
                  <a:gd name="T76" fmla="*/ 80 w 407"/>
                  <a:gd name="T77" fmla="*/ 533 h 1305"/>
                  <a:gd name="T78" fmla="*/ 133 w 407"/>
                  <a:gd name="T79" fmla="*/ 454 h 1305"/>
                  <a:gd name="T80" fmla="*/ 179 w 407"/>
                  <a:gd name="T81" fmla="*/ 405 h 1305"/>
                  <a:gd name="T82" fmla="*/ 196 w 407"/>
                  <a:gd name="T83" fmla="*/ 376 h 1305"/>
                  <a:gd name="T84" fmla="*/ 202 w 407"/>
                  <a:gd name="T85" fmla="*/ 354 h 1305"/>
                  <a:gd name="T86" fmla="*/ 199 w 407"/>
                  <a:gd name="T87" fmla="*/ 322 h 1305"/>
                  <a:gd name="T88" fmla="*/ 180 w 407"/>
                  <a:gd name="T89" fmla="*/ 275 h 1305"/>
                  <a:gd name="T90" fmla="*/ 151 w 407"/>
                  <a:gd name="T91" fmla="*/ 234 h 1305"/>
                  <a:gd name="T92" fmla="*/ 122 w 407"/>
                  <a:gd name="T93" fmla="*/ 201 h 1305"/>
                  <a:gd name="T94" fmla="*/ 102 w 407"/>
                  <a:gd name="T95" fmla="*/ 181 h 1305"/>
                  <a:gd name="T96" fmla="*/ 73 w 407"/>
                  <a:gd name="T97" fmla="*/ 144 h 1305"/>
                  <a:gd name="T98" fmla="*/ 65 w 407"/>
                  <a:gd name="T99" fmla="*/ 101 h 1305"/>
                  <a:gd name="T100" fmla="*/ 76 w 407"/>
                  <a:gd name="T101" fmla="*/ 57 h 1305"/>
                  <a:gd name="T102" fmla="*/ 105 w 407"/>
                  <a:gd name="T103" fmla="*/ 21 h 1305"/>
                  <a:gd name="T104" fmla="*/ 146 w 407"/>
                  <a:gd name="T105" fmla="*/ 3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7" h="1305">
                    <a:moveTo>
                      <a:pt x="169" y="0"/>
                    </a:moveTo>
                    <a:lnTo>
                      <a:pt x="191" y="3"/>
                    </a:lnTo>
                    <a:lnTo>
                      <a:pt x="212" y="11"/>
                    </a:lnTo>
                    <a:lnTo>
                      <a:pt x="232" y="24"/>
                    </a:lnTo>
                    <a:lnTo>
                      <a:pt x="238" y="29"/>
                    </a:lnTo>
                    <a:lnTo>
                      <a:pt x="249" y="39"/>
                    </a:lnTo>
                    <a:lnTo>
                      <a:pt x="261" y="52"/>
                    </a:lnTo>
                    <a:lnTo>
                      <a:pt x="278" y="68"/>
                    </a:lnTo>
                    <a:lnTo>
                      <a:pt x="295" y="88"/>
                    </a:lnTo>
                    <a:lnTo>
                      <a:pt x="314" y="111"/>
                    </a:lnTo>
                    <a:lnTo>
                      <a:pt x="333" y="136"/>
                    </a:lnTo>
                    <a:lnTo>
                      <a:pt x="351" y="164"/>
                    </a:lnTo>
                    <a:lnTo>
                      <a:pt x="368" y="195"/>
                    </a:lnTo>
                    <a:lnTo>
                      <a:pt x="383" y="228"/>
                    </a:lnTo>
                    <a:lnTo>
                      <a:pt x="395" y="263"/>
                    </a:lnTo>
                    <a:lnTo>
                      <a:pt x="403" y="300"/>
                    </a:lnTo>
                    <a:lnTo>
                      <a:pt x="407" y="338"/>
                    </a:lnTo>
                    <a:lnTo>
                      <a:pt x="407" y="363"/>
                    </a:lnTo>
                    <a:lnTo>
                      <a:pt x="404" y="388"/>
                    </a:lnTo>
                    <a:lnTo>
                      <a:pt x="398" y="416"/>
                    </a:lnTo>
                    <a:lnTo>
                      <a:pt x="389" y="445"/>
                    </a:lnTo>
                    <a:lnTo>
                      <a:pt x="376" y="476"/>
                    </a:lnTo>
                    <a:lnTo>
                      <a:pt x="358" y="508"/>
                    </a:lnTo>
                    <a:lnTo>
                      <a:pt x="335" y="539"/>
                    </a:lnTo>
                    <a:lnTo>
                      <a:pt x="304" y="570"/>
                    </a:lnTo>
                    <a:lnTo>
                      <a:pt x="282" y="595"/>
                    </a:lnTo>
                    <a:lnTo>
                      <a:pt x="264" y="625"/>
                    </a:lnTo>
                    <a:lnTo>
                      <a:pt x="246" y="661"/>
                    </a:lnTo>
                    <a:lnTo>
                      <a:pt x="231" y="700"/>
                    </a:lnTo>
                    <a:lnTo>
                      <a:pt x="220" y="744"/>
                    </a:lnTo>
                    <a:lnTo>
                      <a:pt x="210" y="791"/>
                    </a:lnTo>
                    <a:lnTo>
                      <a:pt x="205" y="839"/>
                    </a:lnTo>
                    <a:lnTo>
                      <a:pt x="203" y="889"/>
                    </a:lnTo>
                    <a:lnTo>
                      <a:pt x="205" y="939"/>
                    </a:lnTo>
                    <a:lnTo>
                      <a:pt x="208" y="977"/>
                    </a:lnTo>
                    <a:lnTo>
                      <a:pt x="214" y="1011"/>
                    </a:lnTo>
                    <a:lnTo>
                      <a:pt x="221" y="1039"/>
                    </a:lnTo>
                    <a:lnTo>
                      <a:pt x="228" y="1062"/>
                    </a:lnTo>
                    <a:lnTo>
                      <a:pt x="236" y="1081"/>
                    </a:lnTo>
                    <a:lnTo>
                      <a:pt x="243" y="1093"/>
                    </a:lnTo>
                    <a:lnTo>
                      <a:pt x="249" y="1102"/>
                    </a:lnTo>
                    <a:lnTo>
                      <a:pt x="274" y="1109"/>
                    </a:lnTo>
                    <a:lnTo>
                      <a:pt x="296" y="1121"/>
                    </a:lnTo>
                    <a:lnTo>
                      <a:pt x="315" y="1139"/>
                    </a:lnTo>
                    <a:lnTo>
                      <a:pt x="328" y="1160"/>
                    </a:lnTo>
                    <a:lnTo>
                      <a:pt x="336" y="1184"/>
                    </a:lnTo>
                    <a:lnTo>
                      <a:pt x="338" y="1210"/>
                    </a:lnTo>
                    <a:lnTo>
                      <a:pt x="332" y="1235"/>
                    </a:lnTo>
                    <a:lnTo>
                      <a:pt x="322" y="1258"/>
                    </a:lnTo>
                    <a:lnTo>
                      <a:pt x="306" y="1278"/>
                    </a:lnTo>
                    <a:lnTo>
                      <a:pt x="285" y="1292"/>
                    </a:lnTo>
                    <a:lnTo>
                      <a:pt x="261" y="1301"/>
                    </a:lnTo>
                    <a:lnTo>
                      <a:pt x="236" y="1305"/>
                    </a:lnTo>
                    <a:lnTo>
                      <a:pt x="229" y="1305"/>
                    </a:lnTo>
                    <a:lnTo>
                      <a:pt x="214" y="1304"/>
                    </a:lnTo>
                    <a:lnTo>
                      <a:pt x="198" y="1300"/>
                    </a:lnTo>
                    <a:lnTo>
                      <a:pt x="180" y="1295"/>
                    </a:lnTo>
                    <a:lnTo>
                      <a:pt x="162" y="1287"/>
                    </a:lnTo>
                    <a:lnTo>
                      <a:pt x="142" y="1277"/>
                    </a:lnTo>
                    <a:lnTo>
                      <a:pt x="123" y="1263"/>
                    </a:lnTo>
                    <a:lnTo>
                      <a:pt x="104" y="1244"/>
                    </a:lnTo>
                    <a:lnTo>
                      <a:pt x="85" y="1222"/>
                    </a:lnTo>
                    <a:lnTo>
                      <a:pt x="66" y="1197"/>
                    </a:lnTo>
                    <a:lnTo>
                      <a:pt x="50" y="1164"/>
                    </a:lnTo>
                    <a:lnTo>
                      <a:pt x="34" y="1127"/>
                    </a:lnTo>
                    <a:lnTo>
                      <a:pt x="23" y="1091"/>
                    </a:lnTo>
                    <a:lnTo>
                      <a:pt x="14" y="1052"/>
                    </a:lnTo>
                    <a:lnTo>
                      <a:pt x="7" y="1009"/>
                    </a:lnTo>
                    <a:lnTo>
                      <a:pt x="2" y="964"/>
                    </a:lnTo>
                    <a:lnTo>
                      <a:pt x="0" y="916"/>
                    </a:lnTo>
                    <a:lnTo>
                      <a:pt x="0" y="868"/>
                    </a:lnTo>
                    <a:lnTo>
                      <a:pt x="2" y="819"/>
                    </a:lnTo>
                    <a:lnTo>
                      <a:pt x="8" y="769"/>
                    </a:lnTo>
                    <a:lnTo>
                      <a:pt x="16" y="719"/>
                    </a:lnTo>
                    <a:lnTo>
                      <a:pt x="28" y="670"/>
                    </a:lnTo>
                    <a:lnTo>
                      <a:pt x="42" y="622"/>
                    </a:lnTo>
                    <a:lnTo>
                      <a:pt x="59" y="576"/>
                    </a:lnTo>
                    <a:lnTo>
                      <a:pt x="80" y="533"/>
                    </a:lnTo>
                    <a:lnTo>
                      <a:pt x="105" y="492"/>
                    </a:lnTo>
                    <a:lnTo>
                      <a:pt x="133" y="454"/>
                    </a:lnTo>
                    <a:lnTo>
                      <a:pt x="164" y="422"/>
                    </a:lnTo>
                    <a:lnTo>
                      <a:pt x="179" y="405"/>
                    </a:lnTo>
                    <a:lnTo>
                      <a:pt x="189" y="390"/>
                    </a:lnTo>
                    <a:lnTo>
                      <a:pt x="196" y="376"/>
                    </a:lnTo>
                    <a:lnTo>
                      <a:pt x="201" y="365"/>
                    </a:lnTo>
                    <a:lnTo>
                      <a:pt x="202" y="354"/>
                    </a:lnTo>
                    <a:lnTo>
                      <a:pt x="202" y="345"/>
                    </a:lnTo>
                    <a:lnTo>
                      <a:pt x="199" y="322"/>
                    </a:lnTo>
                    <a:lnTo>
                      <a:pt x="192" y="299"/>
                    </a:lnTo>
                    <a:lnTo>
                      <a:pt x="180" y="275"/>
                    </a:lnTo>
                    <a:lnTo>
                      <a:pt x="166" y="253"/>
                    </a:lnTo>
                    <a:lnTo>
                      <a:pt x="151" y="234"/>
                    </a:lnTo>
                    <a:lnTo>
                      <a:pt x="136" y="216"/>
                    </a:lnTo>
                    <a:lnTo>
                      <a:pt x="122" y="201"/>
                    </a:lnTo>
                    <a:lnTo>
                      <a:pt x="110" y="188"/>
                    </a:lnTo>
                    <a:lnTo>
                      <a:pt x="102" y="181"/>
                    </a:lnTo>
                    <a:lnTo>
                      <a:pt x="85" y="164"/>
                    </a:lnTo>
                    <a:lnTo>
                      <a:pt x="73" y="144"/>
                    </a:lnTo>
                    <a:lnTo>
                      <a:pt x="66" y="123"/>
                    </a:lnTo>
                    <a:lnTo>
                      <a:pt x="65" y="101"/>
                    </a:lnTo>
                    <a:lnTo>
                      <a:pt x="68" y="78"/>
                    </a:lnTo>
                    <a:lnTo>
                      <a:pt x="76" y="57"/>
                    </a:lnTo>
                    <a:lnTo>
                      <a:pt x="88" y="38"/>
                    </a:lnTo>
                    <a:lnTo>
                      <a:pt x="105" y="21"/>
                    </a:lnTo>
                    <a:lnTo>
                      <a:pt x="124" y="10"/>
                    </a:lnTo>
                    <a:lnTo>
                      <a:pt x="146" y="3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31885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out 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[Breakout session instructions]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9" y="1524000"/>
            <a:ext cx="7300381" cy="4497389"/>
          </a:xfrm>
        </p:spPr>
        <p:txBody>
          <a:bodyPr/>
          <a:lstStyle>
            <a:lvl1pPr marL="342886" indent="-342886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100"/>
            </a:lvl1pPr>
            <a:lvl2pPr marL="700060" indent="-342886">
              <a:buFont typeface="+mj-lt"/>
              <a:buAutoNum type="arabicPeriod"/>
              <a:defRPr sz="1800"/>
            </a:lvl2pPr>
            <a:lvl3pPr marL="966749" indent="-342886">
              <a:buFont typeface="+mj-lt"/>
              <a:buAutoNum type="arabicPeriod"/>
              <a:defRPr sz="1500"/>
            </a:lvl3pPr>
            <a:lvl4pPr>
              <a:buFont typeface="+mj-lt"/>
              <a:buAutoNum type="arabicPeriod"/>
              <a:defRPr sz="1400"/>
            </a:lvl4pPr>
            <a:lvl5pPr>
              <a:buFont typeface="+mj-lt"/>
              <a:buAutoNum type="arabicPeriod"/>
              <a:defRPr sz="1400"/>
            </a:lvl5pPr>
          </a:lstStyle>
          <a:p>
            <a:pPr lvl="0"/>
            <a:r>
              <a:rPr lang="en-US"/>
              <a:t>[Insert step]</a:t>
            </a:r>
            <a:endParaRPr lang="en-GB"/>
          </a:p>
        </p:txBody>
      </p:sp>
      <p:sp>
        <p:nvSpPr>
          <p:cNvPr id="10" name="Text Placeholder 2"/>
          <p:cNvSpPr txBox="1">
            <a:spLocks/>
          </p:cNvSpPr>
          <p:nvPr userDrawn="1"/>
        </p:nvSpPr>
        <p:spPr>
          <a:xfrm>
            <a:off x="9742889" y="2597150"/>
            <a:ext cx="2073524" cy="2984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2100">
                <a:solidFill>
                  <a:prstClr val="black"/>
                </a:solidFill>
              </a:rPr>
              <a:t>Total time:</a:t>
            </a:r>
            <a:endParaRPr lang="en-US" sz="2100" b="1">
              <a:solidFill>
                <a:srgbClr val="10CF9B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952143" y="2900680"/>
            <a:ext cx="1665183" cy="37719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XX minutes</a:t>
            </a:r>
          </a:p>
        </p:txBody>
      </p:sp>
      <p:grpSp>
        <p:nvGrpSpPr>
          <p:cNvPr id="13" name="Stopwatch"/>
          <p:cNvGrpSpPr/>
          <p:nvPr userDrawn="1"/>
        </p:nvGrpSpPr>
        <p:grpSpPr>
          <a:xfrm>
            <a:off x="10419329" y="1551316"/>
            <a:ext cx="766423" cy="766422"/>
            <a:chOff x="7113229" y="3790352"/>
            <a:chExt cx="766422" cy="766422"/>
          </a:xfrm>
        </p:grpSpPr>
        <p:sp>
          <p:nvSpPr>
            <p:cNvPr id="14" name="Oval 13"/>
            <p:cNvSpPr/>
            <p:nvPr/>
          </p:nvSpPr>
          <p:spPr bwMode="auto">
            <a:xfrm>
              <a:off x="7113229" y="37903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7275459" y="3886586"/>
              <a:ext cx="443873" cy="545379"/>
              <a:chOff x="5020705" y="3838058"/>
              <a:chExt cx="557977" cy="685577"/>
            </a:xfrm>
            <a:solidFill>
              <a:schemeClr val="accent2"/>
            </a:solidFill>
          </p:grpSpPr>
          <p:sp>
            <p:nvSpPr>
              <p:cNvPr id="16" name="Freeform 338"/>
              <p:cNvSpPr>
                <a:spLocks noEditPoints="1"/>
              </p:cNvSpPr>
              <p:nvPr/>
            </p:nvSpPr>
            <p:spPr bwMode="auto">
              <a:xfrm>
                <a:off x="5236975" y="4028376"/>
                <a:ext cx="125437" cy="278989"/>
              </a:xfrm>
              <a:custGeom>
                <a:avLst/>
                <a:gdLst>
                  <a:gd name="T0" fmla="*/ 24 w 40"/>
                  <a:gd name="T1" fmla="*/ 48 h 88"/>
                  <a:gd name="T2" fmla="*/ 24 w 40"/>
                  <a:gd name="T3" fmla="*/ 4 h 88"/>
                  <a:gd name="T4" fmla="*/ 20 w 40"/>
                  <a:gd name="T5" fmla="*/ 0 h 88"/>
                  <a:gd name="T6" fmla="*/ 16 w 40"/>
                  <a:gd name="T7" fmla="*/ 4 h 88"/>
                  <a:gd name="T8" fmla="*/ 16 w 40"/>
                  <a:gd name="T9" fmla="*/ 48 h 88"/>
                  <a:gd name="T10" fmla="*/ 0 w 40"/>
                  <a:gd name="T11" fmla="*/ 68 h 88"/>
                  <a:gd name="T12" fmla="*/ 20 w 40"/>
                  <a:gd name="T13" fmla="*/ 88 h 88"/>
                  <a:gd name="T14" fmla="*/ 40 w 40"/>
                  <a:gd name="T15" fmla="*/ 68 h 88"/>
                  <a:gd name="T16" fmla="*/ 24 w 40"/>
                  <a:gd name="T17" fmla="*/ 48 h 88"/>
                  <a:gd name="T18" fmla="*/ 20 w 40"/>
                  <a:gd name="T19" fmla="*/ 80 h 88"/>
                  <a:gd name="T20" fmla="*/ 8 w 40"/>
                  <a:gd name="T21" fmla="*/ 68 h 88"/>
                  <a:gd name="T22" fmla="*/ 20 w 40"/>
                  <a:gd name="T23" fmla="*/ 56 h 88"/>
                  <a:gd name="T24" fmla="*/ 32 w 40"/>
                  <a:gd name="T25" fmla="*/ 68 h 88"/>
                  <a:gd name="T26" fmla="*/ 20 w 40"/>
                  <a:gd name="T27" fmla="*/ 8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88">
                    <a:moveTo>
                      <a:pt x="24" y="48"/>
                    </a:moveTo>
                    <a:cubicBezTo>
                      <a:pt x="24" y="4"/>
                      <a:pt x="24" y="4"/>
                      <a:pt x="24" y="4"/>
                    </a:cubicBezTo>
                    <a:cubicBezTo>
                      <a:pt x="24" y="2"/>
                      <a:pt x="22" y="0"/>
                      <a:pt x="20" y="0"/>
                    </a:cubicBezTo>
                    <a:cubicBezTo>
                      <a:pt x="18" y="0"/>
                      <a:pt x="16" y="2"/>
                      <a:pt x="16" y="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7" y="50"/>
                      <a:pt x="0" y="58"/>
                      <a:pt x="0" y="68"/>
                    </a:cubicBezTo>
                    <a:cubicBezTo>
                      <a:pt x="0" y="79"/>
                      <a:pt x="9" y="88"/>
                      <a:pt x="20" y="88"/>
                    </a:cubicBezTo>
                    <a:cubicBezTo>
                      <a:pt x="31" y="88"/>
                      <a:pt x="40" y="79"/>
                      <a:pt x="40" y="68"/>
                    </a:cubicBezTo>
                    <a:cubicBezTo>
                      <a:pt x="40" y="58"/>
                      <a:pt x="33" y="50"/>
                      <a:pt x="24" y="48"/>
                    </a:cubicBezTo>
                    <a:close/>
                    <a:moveTo>
                      <a:pt x="20" y="80"/>
                    </a:moveTo>
                    <a:cubicBezTo>
                      <a:pt x="13" y="80"/>
                      <a:pt x="8" y="75"/>
                      <a:pt x="8" y="68"/>
                    </a:cubicBezTo>
                    <a:cubicBezTo>
                      <a:pt x="8" y="61"/>
                      <a:pt x="13" y="56"/>
                      <a:pt x="20" y="56"/>
                    </a:cubicBezTo>
                    <a:cubicBezTo>
                      <a:pt x="27" y="56"/>
                      <a:pt x="32" y="61"/>
                      <a:pt x="32" y="68"/>
                    </a:cubicBezTo>
                    <a:cubicBezTo>
                      <a:pt x="32" y="75"/>
                      <a:pt x="27" y="80"/>
                      <a:pt x="20" y="8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339"/>
              <p:cNvSpPr>
                <a:spLocks noEditPoints="1"/>
              </p:cNvSpPr>
              <p:nvPr/>
            </p:nvSpPr>
            <p:spPr bwMode="auto">
              <a:xfrm>
                <a:off x="5020705" y="3959169"/>
                <a:ext cx="557977" cy="564466"/>
              </a:xfrm>
              <a:custGeom>
                <a:avLst/>
                <a:gdLst>
                  <a:gd name="T0" fmla="*/ 158 w 176"/>
                  <a:gd name="T1" fmla="*/ 37 h 178"/>
                  <a:gd name="T2" fmla="*/ 159 w 176"/>
                  <a:gd name="T3" fmla="*/ 37 h 178"/>
                  <a:gd name="T4" fmla="*/ 169 w 176"/>
                  <a:gd name="T5" fmla="*/ 26 h 178"/>
                  <a:gd name="T6" fmla="*/ 169 w 176"/>
                  <a:gd name="T7" fmla="*/ 10 h 178"/>
                  <a:gd name="T8" fmla="*/ 164 w 176"/>
                  <a:gd name="T9" fmla="*/ 5 h 178"/>
                  <a:gd name="T10" fmla="*/ 148 w 176"/>
                  <a:gd name="T11" fmla="*/ 5 h 178"/>
                  <a:gd name="T12" fmla="*/ 137 w 176"/>
                  <a:gd name="T13" fmla="*/ 15 h 178"/>
                  <a:gd name="T14" fmla="*/ 136 w 176"/>
                  <a:gd name="T15" fmla="*/ 16 h 178"/>
                  <a:gd name="T16" fmla="*/ 88 w 176"/>
                  <a:gd name="T17" fmla="*/ 2 h 178"/>
                  <a:gd name="T18" fmla="*/ 0 w 176"/>
                  <a:gd name="T19" fmla="*/ 90 h 178"/>
                  <a:gd name="T20" fmla="*/ 88 w 176"/>
                  <a:gd name="T21" fmla="*/ 178 h 178"/>
                  <a:gd name="T22" fmla="*/ 176 w 176"/>
                  <a:gd name="T23" fmla="*/ 90 h 178"/>
                  <a:gd name="T24" fmla="*/ 158 w 176"/>
                  <a:gd name="T25" fmla="*/ 37 h 178"/>
                  <a:gd name="T26" fmla="*/ 143 w 176"/>
                  <a:gd name="T27" fmla="*/ 21 h 178"/>
                  <a:gd name="T28" fmla="*/ 153 w 176"/>
                  <a:gd name="T29" fmla="*/ 10 h 178"/>
                  <a:gd name="T30" fmla="*/ 159 w 176"/>
                  <a:gd name="T31" fmla="*/ 10 h 178"/>
                  <a:gd name="T32" fmla="*/ 164 w 176"/>
                  <a:gd name="T33" fmla="*/ 15 h 178"/>
                  <a:gd name="T34" fmla="*/ 164 w 176"/>
                  <a:gd name="T35" fmla="*/ 21 h 178"/>
                  <a:gd name="T36" fmla="*/ 153 w 176"/>
                  <a:gd name="T37" fmla="*/ 31 h 178"/>
                  <a:gd name="T38" fmla="*/ 143 w 176"/>
                  <a:gd name="T39" fmla="*/ 21 h 178"/>
                  <a:gd name="T40" fmla="*/ 143 w 176"/>
                  <a:gd name="T41" fmla="*/ 21 h 178"/>
                  <a:gd name="T42" fmla="*/ 88 w 176"/>
                  <a:gd name="T43" fmla="*/ 170 h 178"/>
                  <a:gd name="T44" fmla="*/ 8 w 176"/>
                  <a:gd name="T45" fmla="*/ 90 h 178"/>
                  <a:gd name="T46" fmla="*/ 88 w 176"/>
                  <a:gd name="T47" fmla="*/ 10 h 178"/>
                  <a:gd name="T48" fmla="*/ 168 w 176"/>
                  <a:gd name="T49" fmla="*/ 90 h 178"/>
                  <a:gd name="T50" fmla="*/ 88 w 176"/>
                  <a:gd name="T51" fmla="*/ 17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6" h="178">
                    <a:moveTo>
                      <a:pt x="158" y="37"/>
                    </a:moveTo>
                    <a:cubicBezTo>
                      <a:pt x="158" y="37"/>
                      <a:pt x="159" y="37"/>
                      <a:pt x="159" y="37"/>
                    </a:cubicBezTo>
                    <a:cubicBezTo>
                      <a:pt x="169" y="26"/>
                      <a:pt x="169" y="26"/>
                      <a:pt x="169" y="26"/>
                    </a:cubicBezTo>
                    <a:cubicBezTo>
                      <a:pt x="174" y="22"/>
                      <a:pt x="174" y="14"/>
                      <a:pt x="169" y="10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0" y="0"/>
                      <a:pt x="152" y="0"/>
                      <a:pt x="148" y="5"/>
                    </a:cubicBezTo>
                    <a:cubicBezTo>
                      <a:pt x="137" y="15"/>
                      <a:pt x="137" y="15"/>
                      <a:pt x="137" y="15"/>
                    </a:cubicBezTo>
                    <a:cubicBezTo>
                      <a:pt x="137" y="16"/>
                      <a:pt x="136" y="16"/>
                      <a:pt x="136" y="16"/>
                    </a:cubicBezTo>
                    <a:cubicBezTo>
                      <a:pt x="122" y="7"/>
                      <a:pt x="106" y="2"/>
                      <a:pt x="88" y="2"/>
                    </a:cubicBezTo>
                    <a:cubicBezTo>
                      <a:pt x="39" y="2"/>
                      <a:pt x="0" y="41"/>
                      <a:pt x="0" y="90"/>
                    </a:cubicBezTo>
                    <a:cubicBezTo>
                      <a:pt x="0" y="139"/>
                      <a:pt x="39" y="178"/>
                      <a:pt x="88" y="178"/>
                    </a:cubicBezTo>
                    <a:cubicBezTo>
                      <a:pt x="137" y="178"/>
                      <a:pt x="176" y="139"/>
                      <a:pt x="176" y="90"/>
                    </a:cubicBezTo>
                    <a:cubicBezTo>
                      <a:pt x="176" y="70"/>
                      <a:pt x="169" y="52"/>
                      <a:pt x="158" y="37"/>
                    </a:cubicBezTo>
                    <a:close/>
                    <a:moveTo>
                      <a:pt x="143" y="21"/>
                    </a:moveTo>
                    <a:cubicBezTo>
                      <a:pt x="153" y="10"/>
                      <a:pt x="153" y="10"/>
                      <a:pt x="153" y="10"/>
                    </a:cubicBezTo>
                    <a:cubicBezTo>
                      <a:pt x="155" y="9"/>
                      <a:pt x="157" y="9"/>
                      <a:pt x="159" y="10"/>
                    </a:cubicBezTo>
                    <a:cubicBezTo>
                      <a:pt x="164" y="15"/>
                      <a:pt x="164" y="15"/>
                      <a:pt x="164" y="15"/>
                    </a:cubicBezTo>
                    <a:cubicBezTo>
                      <a:pt x="165" y="17"/>
                      <a:pt x="165" y="19"/>
                      <a:pt x="164" y="21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150" y="27"/>
                      <a:pt x="146" y="24"/>
                      <a:pt x="143" y="21"/>
                    </a:cubicBezTo>
                    <a:cubicBezTo>
                      <a:pt x="143" y="21"/>
                      <a:pt x="143" y="21"/>
                      <a:pt x="143" y="21"/>
                    </a:cubicBezTo>
                    <a:close/>
                    <a:moveTo>
                      <a:pt x="88" y="170"/>
                    </a:moveTo>
                    <a:cubicBezTo>
                      <a:pt x="44" y="170"/>
                      <a:pt x="8" y="134"/>
                      <a:pt x="8" y="90"/>
                    </a:cubicBezTo>
                    <a:cubicBezTo>
                      <a:pt x="8" y="46"/>
                      <a:pt x="44" y="10"/>
                      <a:pt x="88" y="10"/>
                    </a:cubicBezTo>
                    <a:cubicBezTo>
                      <a:pt x="132" y="10"/>
                      <a:pt x="168" y="46"/>
                      <a:pt x="168" y="90"/>
                    </a:cubicBezTo>
                    <a:cubicBezTo>
                      <a:pt x="168" y="134"/>
                      <a:pt x="132" y="170"/>
                      <a:pt x="88" y="1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340"/>
              <p:cNvSpPr>
                <a:spLocks noEditPoints="1"/>
              </p:cNvSpPr>
              <p:nvPr/>
            </p:nvSpPr>
            <p:spPr bwMode="auto">
              <a:xfrm>
                <a:off x="5211023" y="3838058"/>
                <a:ext cx="177342" cy="101648"/>
              </a:xfrm>
              <a:custGeom>
                <a:avLst/>
                <a:gdLst>
                  <a:gd name="T0" fmla="*/ 12 w 56"/>
                  <a:gd name="T1" fmla="*/ 32 h 32"/>
                  <a:gd name="T2" fmla="*/ 44 w 56"/>
                  <a:gd name="T3" fmla="*/ 32 h 32"/>
                  <a:gd name="T4" fmla="*/ 44 w 56"/>
                  <a:gd name="T5" fmla="*/ 32 h 32"/>
                  <a:gd name="T6" fmla="*/ 56 w 56"/>
                  <a:gd name="T7" fmla="*/ 20 h 32"/>
                  <a:gd name="T8" fmla="*/ 56 w 56"/>
                  <a:gd name="T9" fmla="*/ 16 h 32"/>
                  <a:gd name="T10" fmla="*/ 45 w 56"/>
                  <a:gd name="T11" fmla="*/ 2 h 32"/>
                  <a:gd name="T12" fmla="*/ 11 w 56"/>
                  <a:gd name="T13" fmla="*/ 2 h 32"/>
                  <a:gd name="T14" fmla="*/ 0 w 56"/>
                  <a:gd name="T15" fmla="*/ 16 h 32"/>
                  <a:gd name="T16" fmla="*/ 0 w 56"/>
                  <a:gd name="T17" fmla="*/ 20 h 32"/>
                  <a:gd name="T18" fmla="*/ 12 w 56"/>
                  <a:gd name="T19" fmla="*/ 32 h 32"/>
                  <a:gd name="T20" fmla="*/ 8 w 56"/>
                  <a:gd name="T21" fmla="*/ 16 h 32"/>
                  <a:gd name="T22" fmla="*/ 13 w 56"/>
                  <a:gd name="T23" fmla="*/ 10 h 32"/>
                  <a:gd name="T24" fmla="*/ 28 w 56"/>
                  <a:gd name="T25" fmla="*/ 8 h 32"/>
                  <a:gd name="T26" fmla="*/ 43 w 56"/>
                  <a:gd name="T27" fmla="*/ 10 h 32"/>
                  <a:gd name="T28" fmla="*/ 48 w 56"/>
                  <a:gd name="T29" fmla="*/ 16 h 32"/>
                  <a:gd name="T30" fmla="*/ 48 w 56"/>
                  <a:gd name="T31" fmla="*/ 20 h 32"/>
                  <a:gd name="T32" fmla="*/ 44 w 56"/>
                  <a:gd name="T33" fmla="*/ 24 h 32"/>
                  <a:gd name="T34" fmla="*/ 12 w 56"/>
                  <a:gd name="T35" fmla="*/ 24 h 32"/>
                  <a:gd name="T36" fmla="*/ 8 w 56"/>
                  <a:gd name="T37" fmla="*/ 20 h 32"/>
                  <a:gd name="T38" fmla="*/ 8 w 56"/>
                  <a:gd name="T3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" h="32">
                    <a:moveTo>
                      <a:pt x="12" y="32"/>
                    </a:move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51" y="32"/>
                      <a:pt x="56" y="26"/>
                      <a:pt x="56" y="20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10"/>
                      <a:pt x="51" y="3"/>
                      <a:pt x="45" y="2"/>
                    </a:cubicBezTo>
                    <a:cubicBezTo>
                      <a:pt x="34" y="0"/>
                      <a:pt x="22" y="0"/>
                      <a:pt x="11" y="2"/>
                    </a:cubicBezTo>
                    <a:cubicBezTo>
                      <a:pt x="5" y="3"/>
                      <a:pt x="0" y="10"/>
                      <a:pt x="0" y="1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6"/>
                      <a:pt x="5" y="32"/>
                      <a:pt x="12" y="32"/>
                    </a:cubicBezTo>
                    <a:close/>
                    <a:moveTo>
                      <a:pt x="8" y="16"/>
                    </a:moveTo>
                    <a:cubicBezTo>
                      <a:pt x="8" y="13"/>
                      <a:pt x="10" y="10"/>
                      <a:pt x="13" y="10"/>
                    </a:cubicBezTo>
                    <a:cubicBezTo>
                      <a:pt x="18" y="9"/>
                      <a:pt x="23" y="8"/>
                      <a:pt x="28" y="8"/>
                    </a:cubicBezTo>
                    <a:cubicBezTo>
                      <a:pt x="33" y="8"/>
                      <a:pt x="38" y="9"/>
                      <a:pt x="43" y="10"/>
                    </a:cubicBezTo>
                    <a:cubicBezTo>
                      <a:pt x="46" y="10"/>
                      <a:pt x="48" y="13"/>
                      <a:pt x="48" y="16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2"/>
                      <a:pt x="46" y="24"/>
                      <a:pt x="44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0" y="24"/>
                      <a:pt x="8" y="22"/>
                      <a:pt x="8" y="20"/>
                    </a:cubicBezTo>
                    <a:lnTo>
                      <a:pt x="8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341"/>
              <p:cNvSpPr>
                <a:spLocks/>
              </p:cNvSpPr>
              <p:nvPr/>
            </p:nvSpPr>
            <p:spPr bwMode="auto">
              <a:xfrm>
                <a:off x="5072610" y="4231670"/>
                <a:ext cx="49743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342"/>
              <p:cNvSpPr>
                <a:spLocks/>
              </p:cNvSpPr>
              <p:nvPr/>
            </p:nvSpPr>
            <p:spPr bwMode="auto">
              <a:xfrm>
                <a:off x="5477034" y="4231670"/>
                <a:ext cx="51905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343"/>
              <p:cNvSpPr>
                <a:spLocks/>
              </p:cNvSpPr>
              <p:nvPr/>
            </p:nvSpPr>
            <p:spPr bwMode="auto">
              <a:xfrm>
                <a:off x="5286717" y="4421987"/>
                <a:ext cx="25952" cy="5190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1849535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89B0425-4C1C-4286-9CE9-65A7679A41FD}" type="datetimeFigureOut">
              <a:rPr lang="en-US" smtClean="0">
                <a:solidFill>
                  <a:prstClr val="black"/>
                </a:solidFill>
              </a:rPr>
              <a:pPr/>
              <a:t>5/2/20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 algn="ctr">
              <a:defRPr sz="900"/>
            </a:lvl1pPr>
          </a:lstStyle>
          <a:p>
            <a:endParaRPr lang="en-US">
              <a:solidFill>
                <a:srgbClr val="000000"/>
              </a:solidFill>
              <a:cs typeface="Arial" panose="020B0604020202020204" pitchFamily="34" charset="0"/>
            </a:endParaRPr>
          </a:p>
          <a:p>
            <a:r>
              <a:rPr lang="en-US">
                <a:solidFill>
                  <a:srgbClr val="000000"/>
                </a:solidFill>
                <a:cs typeface="Arial" panose="020B0604020202020204" pitchFamily="34" charset="0"/>
              </a:rPr>
              <a:t>Johnson Controls, Inc. — </a:t>
            </a:r>
            <a:r>
              <a:rPr lang="en-GB" altLang="en-US">
                <a:solidFill>
                  <a:prstClr val="black"/>
                </a:solidFill>
              </a:rPr>
              <a:t>Company Confidential</a:t>
            </a:r>
          </a:p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7955F36-8212-4E52-A18C-7D0EF83909D0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35667" y="6114689"/>
            <a:ext cx="2101161" cy="606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5434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4429085"/>
      </p:ext>
    </p:extLst>
  </p:cSld>
  <p:clrMapOvr>
    <a:masterClrMapping/>
  </p:clrMapOvr>
  <p:transition>
    <p:fade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74936809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16002" y="288928"/>
            <a:ext cx="10562167" cy="2778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1015999" y="5340210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/>
            </a:lvl3pPr>
            <a:lvl4pPr marL="361950" indent="-179388">
              <a:defRPr/>
            </a:lvl4pPr>
            <a:lvl5pPr marL="542925" indent="-179388">
              <a:defRPr/>
            </a:lvl5pPr>
            <a:lvl6pPr marL="714375" indent="-179388">
              <a:defRPr/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Picture Placeholder 33"/>
          <p:cNvSpPr>
            <a:spLocks noGrp="1"/>
          </p:cNvSpPr>
          <p:nvPr>
            <p:ph type="pic" sz="quarter" idx="10"/>
          </p:nvPr>
        </p:nvSpPr>
        <p:spPr>
          <a:xfrm>
            <a:off x="-1" y="1716088"/>
            <a:ext cx="12192001" cy="3430800"/>
          </a:xfrm>
          <a:prstGeom prst="rect">
            <a:avLst/>
          </a:prstGeom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16001" y="644950"/>
            <a:ext cx="10943167" cy="96636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10502902" y="28638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10" name="TextBox 35"/>
          <p:cNvSpPr txBox="1">
            <a:spLocks noChangeArrowheads="1"/>
          </p:cNvSpPr>
          <p:nvPr userDrawn="1"/>
        </p:nvSpPr>
        <p:spPr bwMode="auto">
          <a:xfrm>
            <a:off x="171451" y="28638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pic>
        <p:nvPicPr>
          <p:cNvPr id="11" name="Picture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1" y="5673728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37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3" name="Rectangle 1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15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7" name="TextBox 16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8" name="TextBox 17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9" name="TextBox 18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0" name="TextBox 19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1" name="TextBox 20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2" name="TextBox 21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0" name="Group 3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1" name="Rectangle 4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4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r>
              <a:rPr lang="en-GB" dirty="0" smtClean="0"/>
              <a:t>Footer - Use 'Insert &gt;Header &amp; Footer' to modify this text and ‘Apply to all’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65247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1"/>
            <a:ext cx="12192000" cy="34290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5" name="Picture 3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0" y="5673726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36"/>
          <p:cNvSpPr txBox="1">
            <a:spLocks noChangeArrowheads="1"/>
          </p:cNvSpPr>
          <p:nvPr userDrawn="1"/>
        </p:nvSpPr>
        <p:spPr bwMode="auto">
          <a:xfrm>
            <a:off x="10502901" y="1063626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7" name="TextBox 37"/>
          <p:cNvSpPr txBox="1">
            <a:spLocks noChangeArrowheads="1"/>
          </p:cNvSpPr>
          <p:nvPr userDrawn="1"/>
        </p:nvSpPr>
        <p:spPr bwMode="auto">
          <a:xfrm>
            <a:off x="171451" y="1063626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8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9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9" name="Rectangle 3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-2"/>
            <a:ext cx="12192000" cy="406402"/>
          </a:xfrm>
          <a:prstGeom prst="rect">
            <a:avLst/>
          </a:prstGeom>
          <a:solidFill>
            <a:srgbClr val="00549E"/>
          </a:solidFill>
          <a:effectLst/>
        </p:spPr>
        <p:txBody>
          <a:bodyPr lIns="756000" tIns="72000" rIns="72000" bIns="36000" anchor="ctr">
            <a:noAutofit/>
          </a:bodyPr>
          <a:lstStyle>
            <a:lvl1pPr marL="0" indent="0">
              <a:spcBef>
                <a:spcPct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Business Unit</a:t>
            </a:r>
            <a:endParaRPr lang="en-GB" dirty="0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1015999" y="4850355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 marL="361950" indent="-179388">
              <a:defRPr>
                <a:solidFill>
                  <a:schemeClr val="tx1"/>
                </a:solidFill>
              </a:defRPr>
            </a:lvl4pPr>
            <a:lvl5pPr marL="542925" indent="-179388">
              <a:defRPr>
                <a:solidFill>
                  <a:schemeClr val="tx1"/>
                </a:solidFill>
              </a:defRPr>
            </a:lvl5pPr>
            <a:lvl6pPr marL="714375" indent="-179388">
              <a:defRPr>
                <a:solidFill>
                  <a:schemeClr val="tx1"/>
                </a:solidFill>
              </a:defRPr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/>
          </p:nvPr>
        </p:nvSpPr>
        <p:spPr>
          <a:xfrm>
            <a:off x="1015999" y="3552825"/>
            <a:ext cx="10943167" cy="113091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grpSp>
        <p:nvGrpSpPr>
          <p:cNvPr id="14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5" name="Rectangle 14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6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9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0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1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2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3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4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1" name="Group 40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2" name="Rectangle 41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4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r>
              <a:rPr lang="en-GB" dirty="0" smtClean="0"/>
              <a:t>Footer - Use 'Insert &gt;Header &amp; Footer' to modify this text and ‘Apply to all’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665556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 bwMode="auto">
          <a:xfrm>
            <a:off x="0" y="3384000"/>
            <a:ext cx="12192000" cy="1188000"/>
          </a:xfrm>
          <a:solidFill>
            <a:schemeClr val="tx2"/>
          </a:solidFill>
        </p:spPr>
        <p:txBody>
          <a:bodyPr lIns="756000" rIns="180000" anchor="ctr"/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  <a:defRPr lang="en-GB" sz="2800" b="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342900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1015999" y="4850355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/>
            </a:lvl3pPr>
            <a:lvl4pPr marL="361950" indent="-179388">
              <a:defRPr/>
            </a:lvl4pPr>
            <a:lvl5pPr marL="542925" indent="-179388">
              <a:defRPr/>
            </a:lvl5pPr>
            <a:lvl6pPr marL="714375" indent="-179388">
              <a:defRPr/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1"/>
            <a:ext cx="12192000" cy="34337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9" name="Picture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1" y="5673728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37"/>
          <p:cNvSpPr txBox="1">
            <a:spLocks noChangeArrowheads="1"/>
          </p:cNvSpPr>
          <p:nvPr userDrawn="1"/>
        </p:nvSpPr>
        <p:spPr bwMode="auto">
          <a:xfrm>
            <a:off x="10502902" y="11112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11" name="TextBox 38"/>
          <p:cNvSpPr txBox="1">
            <a:spLocks noChangeArrowheads="1"/>
          </p:cNvSpPr>
          <p:nvPr userDrawn="1"/>
        </p:nvSpPr>
        <p:spPr bwMode="auto">
          <a:xfrm>
            <a:off x="171451" y="11112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13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4" name="Rectangle 1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8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9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0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1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2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3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0" name="Group 3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1" name="Rectangle 4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3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r>
              <a:rPr lang="en-GB" dirty="0" smtClean="0"/>
              <a:t>Footer - Use 'Insert &gt;Header &amp; Footer' to modify this text and ‘Apply to all’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81632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8" y="1144589"/>
            <a:ext cx="10943167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46313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337302" y="1196975"/>
            <a:ext cx="5230284" cy="4824414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771279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337302" y="1196976"/>
            <a:ext cx="5230284" cy="2337949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337302" y="3684233"/>
            <a:ext cx="5230284" cy="2337949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365672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335184" y="1144590"/>
            <a:ext cx="5232400" cy="4876799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4434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99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ctivity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itle 2"/>
          <p:cNvSpPr txBox="1">
            <a:spLocks/>
          </p:cNvSpPr>
          <p:nvPr/>
        </p:nvSpPr>
        <p:spPr>
          <a:xfrm>
            <a:off x="4400669" y="2421782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6000">
                <a:solidFill>
                  <a:prstClr val="white"/>
                </a:solidFill>
              </a:rPr>
              <a:t>Activity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00671" y="3962400"/>
            <a:ext cx="6248400" cy="1754188"/>
          </a:xfrm>
        </p:spPr>
        <p:txBody>
          <a:bodyPr wrap="square" anchor="t">
            <a:no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instructions for activity if appropriate]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Paired practice"/>
          <p:cNvGrpSpPr/>
          <p:nvPr userDrawn="1"/>
        </p:nvGrpSpPr>
        <p:grpSpPr>
          <a:xfrm>
            <a:off x="2662578" y="2286001"/>
            <a:ext cx="766423" cy="766422"/>
            <a:chOff x="609443" y="3790352"/>
            <a:chExt cx="766422" cy="766422"/>
          </a:xfrm>
        </p:grpSpPr>
        <p:grpSp>
          <p:nvGrpSpPr>
            <p:cNvPr id="23" name="Group 22"/>
            <p:cNvGrpSpPr/>
            <p:nvPr/>
          </p:nvGrpSpPr>
          <p:grpSpPr>
            <a:xfrm>
              <a:off x="609443" y="3790352"/>
              <a:ext cx="766422" cy="766422"/>
              <a:chOff x="10380717" y="2454745"/>
              <a:chExt cx="2442023" cy="2442023"/>
            </a:xfrm>
          </p:grpSpPr>
          <p:sp>
            <p:nvSpPr>
              <p:cNvPr id="26" name="Oval 25"/>
              <p:cNvSpPr/>
              <p:nvPr/>
            </p:nvSpPr>
            <p:spPr bwMode="black">
              <a:xfrm>
                <a:off x="10380717" y="2454745"/>
                <a:ext cx="2442023" cy="2442023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10883774" y="2868095"/>
                <a:ext cx="1326026" cy="1277661"/>
                <a:chOff x="10883774" y="2868095"/>
                <a:chExt cx="1326026" cy="1277661"/>
              </a:xfrm>
            </p:grpSpPr>
            <p:sp>
              <p:nvSpPr>
                <p:cNvPr id="28" name="Freeform 27"/>
                <p:cNvSpPr/>
                <p:nvPr/>
              </p:nvSpPr>
              <p:spPr bwMode="black">
                <a:xfrm>
                  <a:off x="11525818" y="2868095"/>
                  <a:ext cx="683982" cy="557479"/>
                </a:xfrm>
                <a:custGeom>
                  <a:avLst/>
                  <a:gdLst>
                    <a:gd name="connsiteX0" fmla="*/ 341991 w 683982"/>
                    <a:gd name="connsiteY0" fmla="*/ 0 h 557479"/>
                    <a:gd name="connsiteX1" fmla="*/ 526795 w 683982"/>
                    <a:gd name="connsiteY1" fmla="*/ 184805 h 557479"/>
                    <a:gd name="connsiteX2" fmla="*/ 472667 w 683982"/>
                    <a:gd name="connsiteY2" fmla="*/ 315481 h 557479"/>
                    <a:gd name="connsiteX3" fmla="*/ 445382 w 683982"/>
                    <a:gd name="connsiteY3" fmla="*/ 337994 h 557479"/>
                    <a:gd name="connsiteX4" fmla="*/ 486126 w 683982"/>
                    <a:gd name="connsiteY4" fmla="*/ 350641 h 557479"/>
                    <a:gd name="connsiteX5" fmla="*/ 649044 w 683982"/>
                    <a:gd name="connsiteY5" fmla="*/ 484801 h 557479"/>
                    <a:gd name="connsiteX6" fmla="*/ 683982 w 683982"/>
                    <a:gd name="connsiteY6" fmla="*/ 557479 h 557479"/>
                    <a:gd name="connsiteX7" fmla="*/ 0 w 683982"/>
                    <a:gd name="connsiteY7" fmla="*/ 557479 h 557479"/>
                    <a:gd name="connsiteX8" fmla="*/ 34938 w 683982"/>
                    <a:gd name="connsiteY8" fmla="*/ 484801 h 557479"/>
                    <a:gd name="connsiteX9" fmla="*/ 197856 w 683982"/>
                    <a:gd name="connsiteY9" fmla="*/ 350641 h 557479"/>
                    <a:gd name="connsiteX10" fmla="*/ 238601 w 683982"/>
                    <a:gd name="connsiteY10" fmla="*/ 337994 h 557479"/>
                    <a:gd name="connsiteX11" fmla="*/ 211315 w 683982"/>
                    <a:gd name="connsiteY11" fmla="*/ 315481 h 557479"/>
                    <a:gd name="connsiteX12" fmla="*/ 157187 w 683982"/>
                    <a:gd name="connsiteY12" fmla="*/ 184805 h 557479"/>
                    <a:gd name="connsiteX13" fmla="*/ 341991 w 683982"/>
                    <a:gd name="connsiteY13" fmla="*/ 0 h 557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683982" h="557479">
                      <a:moveTo>
                        <a:pt x="341991" y="0"/>
                      </a:moveTo>
                      <a:cubicBezTo>
                        <a:pt x="444055" y="0"/>
                        <a:pt x="526795" y="82740"/>
                        <a:pt x="526795" y="184805"/>
                      </a:cubicBezTo>
                      <a:cubicBezTo>
                        <a:pt x="526795" y="235837"/>
                        <a:pt x="506110" y="282038"/>
                        <a:pt x="472667" y="315481"/>
                      </a:cubicBezTo>
                      <a:lnTo>
                        <a:pt x="445382" y="337994"/>
                      </a:lnTo>
                      <a:lnTo>
                        <a:pt x="486126" y="350641"/>
                      </a:lnTo>
                      <a:cubicBezTo>
                        <a:pt x="552578" y="378748"/>
                        <a:pt x="609118" y="425702"/>
                        <a:pt x="649044" y="484801"/>
                      </a:cubicBezTo>
                      <a:lnTo>
                        <a:pt x="683982" y="557479"/>
                      </a:lnTo>
                      <a:lnTo>
                        <a:pt x="0" y="557479"/>
                      </a:lnTo>
                      <a:lnTo>
                        <a:pt x="34938" y="484801"/>
                      </a:lnTo>
                      <a:cubicBezTo>
                        <a:pt x="74865" y="425702"/>
                        <a:pt x="131404" y="378748"/>
                        <a:pt x="197856" y="350641"/>
                      </a:cubicBezTo>
                      <a:lnTo>
                        <a:pt x="238601" y="337994"/>
                      </a:lnTo>
                      <a:lnTo>
                        <a:pt x="211315" y="315481"/>
                      </a:lnTo>
                      <a:cubicBezTo>
                        <a:pt x="177872" y="282038"/>
                        <a:pt x="157187" y="235837"/>
                        <a:pt x="157187" y="184805"/>
                      </a:cubicBezTo>
                      <a:cubicBezTo>
                        <a:pt x="157187" y="82740"/>
                        <a:pt x="239927" y="0"/>
                        <a:pt x="341991" y="0"/>
                      </a:cubicBezTo>
                      <a:close/>
                    </a:path>
                  </a:pathLst>
                </a:custGeom>
                <a:noFill/>
                <a:ln w="22225" cap="rnd" cmpd="sng" algn="ctr">
                  <a:solidFill>
                    <a:srgbClr val="00549E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kern="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form 28"/>
                <p:cNvSpPr/>
                <p:nvPr/>
              </p:nvSpPr>
              <p:spPr bwMode="black">
                <a:xfrm>
                  <a:off x="10883774" y="3301402"/>
                  <a:ext cx="835202" cy="844354"/>
                </a:xfrm>
                <a:custGeom>
                  <a:avLst/>
                  <a:gdLst>
                    <a:gd name="connsiteX0" fmla="*/ 497270 w 994540"/>
                    <a:gd name="connsiteY0" fmla="*/ 0 h 1005436"/>
                    <a:gd name="connsiteX1" fmla="*/ 745445 w 994540"/>
                    <a:gd name="connsiteY1" fmla="*/ 248175 h 1005436"/>
                    <a:gd name="connsiteX2" fmla="*/ 672756 w 994540"/>
                    <a:gd name="connsiteY2" fmla="*/ 423661 h 1005436"/>
                    <a:gd name="connsiteX3" fmla="*/ 636115 w 994540"/>
                    <a:gd name="connsiteY3" fmla="*/ 453894 h 1005436"/>
                    <a:gd name="connsiteX4" fmla="*/ 690830 w 994540"/>
                    <a:gd name="connsiteY4" fmla="*/ 470878 h 1005436"/>
                    <a:gd name="connsiteX5" fmla="*/ 994540 w 994540"/>
                    <a:gd name="connsiteY5" fmla="*/ 929070 h 1005436"/>
                    <a:gd name="connsiteX6" fmla="*/ 0 w 994540"/>
                    <a:gd name="connsiteY6" fmla="*/ 929070 h 1005436"/>
                    <a:gd name="connsiteX7" fmla="*/ 303710 w 994540"/>
                    <a:gd name="connsiteY7" fmla="*/ 470878 h 1005436"/>
                    <a:gd name="connsiteX8" fmla="*/ 358426 w 994540"/>
                    <a:gd name="connsiteY8" fmla="*/ 453894 h 1005436"/>
                    <a:gd name="connsiteX9" fmla="*/ 321784 w 994540"/>
                    <a:gd name="connsiteY9" fmla="*/ 423661 h 1005436"/>
                    <a:gd name="connsiteX10" fmla="*/ 249095 w 994540"/>
                    <a:gd name="connsiteY10" fmla="*/ 248175 h 1005436"/>
                    <a:gd name="connsiteX11" fmla="*/ 497270 w 994540"/>
                    <a:gd name="connsiteY11" fmla="*/ 0 h 1005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94540" h="1005436">
                      <a:moveTo>
                        <a:pt x="497270" y="0"/>
                      </a:moveTo>
                      <a:cubicBezTo>
                        <a:pt x="634333" y="0"/>
                        <a:pt x="745445" y="111112"/>
                        <a:pt x="745445" y="248175"/>
                      </a:cubicBezTo>
                      <a:cubicBezTo>
                        <a:pt x="745445" y="316706"/>
                        <a:pt x="717667" y="378750"/>
                        <a:pt x="672756" y="423661"/>
                      </a:cubicBezTo>
                      <a:lnTo>
                        <a:pt x="636115" y="453894"/>
                      </a:lnTo>
                      <a:lnTo>
                        <a:pt x="690830" y="470878"/>
                      </a:lnTo>
                      <a:cubicBezTo>
                        <a:pt x="869308" y="546368"/>
                        <a:pt x="994540" y="723094"/>
                        <a:pt x="994540" y="929070"/>
                      </a:cubicBezTo>
                      <a:cubicBezTo>
                        <a:pt x="685252" y="1040195"/>
                        <a:pt x="306113" y="1021145"/>
                        <a:pt x="0" y="929070"/>
                      </a:cubicBezTo>
                      <a:cubicBezTo>
                        <a:pt x="0" y="723094"/>
                        <a:pt x="125232" y="546368"/>
                        <a:pt x="303710" y="470878"/>
                      </a:cubicBezTo>
                      <a:lnTo>
                        <a:pt x="358426" y="453894"/>
                      </a:lnTo>
                      <a:lnTo>
                        <a:pt x="321784" y="423661"/>
                      </a:lnTo>
                      <a:cubicBezTo>
                        <a:pt x="276873" y="378750"/>
                        <a:pt x="249095" y="316706"/>
                        <a:pt x="249095" y="248175"/>
                      </a:cubicBezTo>
                      <a:cubicBezTo>
                        <a:pt x="249095" y="111112"/>
                        <a:pt x="360207" y="0"/>
                        <a:pt x="497270" y="0"/>
                      </a:cubicBezTo>
                      <a:close/>
                    </a:path>
                  </a:pathLst>
                </a:custGeom>
                <a:noFill/>
                <a:ln w="22225" cap="rnd" cmpd="sng" algn="ctr">
                  <a:solidFill>
                    <a:srgbClr val="00549E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kern="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4" name="Freeform 23"/>
            <p:cNvSpPr/>
            <p:nvPr/>
          </p:nvSpPr>
          <p:spPr>
            <a:xfrm>
              <a:off x="966788" y="4095750"/>
              <a:ext cx="338137" cy="152400"/>
            </a:xfrm>
            <a:custGeom>
              <a:avLst/>
              <a:gdLst>
                <a:gd name="connsiteX0" fmla="*/ 0 w 338137"/>
                <a:gd name="connsiteY0" fmla="*/ 0 h 152400"/>
                <a:gd name="connsiteX1" fmla="*/ 338137 w 338137"/>
                <a:gd name="connsiteY1" fmla="*/ 0 h 152400"/>
                <a:gd name="connsiteX2" fmla="*/ 107156 w 338137"/>
                <a:gd name="connsiteY2" fmla="*/ 152400 h 152400"/>
                <a:gd name="connsiteX3" fmla="*/ 57150 w 338137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137" h="152400">
                  <a:moveTo>
                    <a:pt x="0" y="0"/>
                  </a:moveTo>
                  <a:lnTo>
                    <a:pt x="338137" y="0"/>
                  </a:lnTo>
                  <a:lnTo>
                    <a:pt x="107156" y="152400"/>
                  </a:lnTo>
                  <a:lnTo>
                    <a:pt x="57150" y="152400"/>
                  </a:lnTo>
                </a:path>
              </a:pathLst>
            </a:custGeom>
            <a:noFill/>
            <a:ln w="22225" cap="rnd" cmpd="sng" algn="ctr">
              <a:solidFill>
                <a:srgbClr val="00549E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kern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667272" y="4133850"/>
              <a:ext cx="161925" cy="114300"/>
            </a:xfrm>
            <a:custGeom>
              <a:avLst/>
              <a:gdLst>
                <a:gd name="connsiteX0" fmla="*/ 104775 w 161925"/>
                <a:gd name="connsiteY0" fmla="*/ 114300 h 114300"/>
                <a:gd name="connsiteX1" fmla="*/ 0 w 161925"/>
                <a:gd name="connsiteY1" fmla="*/ 114300 h 114300"/>
                <a:gd name="connsiteX2" fmla="*/ 161925 w 161925"/>
                <a:gd name="connsiteY2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4300">
                  <a:moveTo>
                    <a:pt x="104775" y="114300"/>
                  </a:moveTo>
                  <a:lnTo>
                    <a:pt x="0" y="114300"/>
                  </a:lnTo>
                  <a:lnTo>
                    <a:pt x="161925" y="0"/>
                  </a:lnTo>
                </a:path>
              </a:pathLst>
            </a:custGeom>
            <a:noFill/>
            <a:ln w="22225" cap="rnd" cmpd="sng" algn="ctr">
              <a:solidFill>
                <a:srgbClr val="00549E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kern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4991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1078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3" name="Rectangle 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4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3" name="Straight Connector 1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7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8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9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0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1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2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4" name="Rectangle 2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25" name="Straight Connector 2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3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26572" y="6234113"/>
            <a:ext cx="146174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031273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3" name="Rectangle 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4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3" name="Straight Connector 1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7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8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9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0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1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2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4" name="Rectangle 2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25" name="Straight Connector 2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7225617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4" name="Rectangle 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8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9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0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1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2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3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4" name="Group 23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5" name="Rectangle 24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1575850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/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2" y="1560513"/>
            <a:ext cx="10104967" cy="3257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0" indent="1588" algn="ctr">
              <a:buClr>
                <a:schemeClr val="bg1"/>
              </a:buClr>
              <a:buNone/>
              <a:defRPr sz="24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Clr>
                <a:schemeClr val="bg1"/>
              </a:buClr>
              <a:buNone/>
              <a:defRPr sz="1800">
                <a:solidFill>
                  <a:schemeClr val="bg1"/>
                </a:solidFill>
              </a:defRPr>
            </a:lvl3pPr>
            <a:lvl4pPr marL="0" indent="0" algn="r">
              <a:buClr>
                <a:schemeClr val="bg1"/>
              </a:buClr>
              <a:buNone/>
              <a:defRPr sz="1600" i="1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5pPr>
            <a:lvl6pPr marL="0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6pPr>
            <a:lvl7pPr marL="0" indent="0" algn="ctr">
              <a:buNone/>
              <a:defRPr sz="10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 smtClean="0"/>
              <a:t>Click to edit text (Indent for different styles incl. author level – level 3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  <a:p>
            <a:pPr lvl="5"/>
            <a:r>
              <a:rPr lang="en-US" smtClean="0"/>
              <a:t>Sixth level</a:t>
            </a:r>
          </a:p>
          <a:p>
            <a:pPr lvl="6"/>
            <a:r>
              <a:rPr lang="en-US" smtClean="0"/>
              <a:t>Seventh level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39"/>
          <p:cNvGrpSpPr>
            <a:grpSpLocks/>
          </p:cNvGrpSpPr>
          <p:nvPr userDrawn="1"/>
        </p:nvGrpSpPr>
        <p:grpSpPr bwMode="white">
          <a:xfrm>
            <a:off x="-765726" y="0"/>
            <a:ext cx="654051" cy="6865938"/>
            <a:chOff x="-565302" y="0"/>
            <a:chExt cx="490967" cy="6865432"/>
          </a:xfrm>
        </p:grpSpPr>
        <p:sp>
          <p:nvSpPr>
            <p:cNvPr id="9" name="Rectangle 8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0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3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4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5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6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7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8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0" name="Rectangle 29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prstClr val="white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6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56607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/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2" y="1560513"/>
            <a:ext cx="10104967" cy="3257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0" indent="1588" algn="ctr">
              <a:buClr>
                <a:schemeClr val="bg1"/>
              </a:buClr>
              <a:buNone/>
              <a:defRPr sz="24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Clr>
                <a:schemeClr val="bg1"/>
              </a:buClr>
              <a:buNone/>
              <a:defRPr sz="1800">
                <a:solidFill>
                  <a:schemeClr val="bg1"/>
                </a:solidFill>
              </a:defRPr>
            </a:lvl3pPr>
            <a:lvl4pPr marL="0" indent="0" algn="r">
              <a:buClr>
                <a:schemeClr val="bg1"/>
              </a:buClr>
              <a:buNone/>
              <a:defRPr sz="1600" i="1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5pPr>
            <a:lvl6pPr marL="0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6pPr>
            <a:lvl7pPr marL="0" indent="0" algn="ctr">
              <a:buNone/>
              <a:defRPr sz="10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 smtClean="0"/>
              <a:t>Click to edit text (Indent for different styles incl. author level – level 3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  <a:p>
            <a:pPr lvl="5"/>
            <a:r>
              <a:rPr lang="en-US" smtClean="0"/>
              <a:t>Sixth level</a:t>
            </a:r>
          </a:p>
          <a:p>
            <a:pPr lvl="6"/>
            <a:r>
              <a:rPr lang="en-US" smtClean="0"/>
              <a:t>Seventh level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39"/>
          <p:cNvGrpSpPr>
            <a:grpSpLocks/>
          </p:cNvGrpSpPr>
          <p:nvPr userDrawn="1"/>
        </p:nvGrpSpPr>
        <p:grpSpPr bwMode="white">
          <a:xfrm>
            <a:off x="-765726" y="0"/>
            <a:ext cx="654051" cy="6865938"/>
            <a:chOff x="-565302" y="0"/>
            <a:chExt cx="490967" cy="6865432"/>
          </a:xfrm>
        </p:grpSpPr>
        <p:sp>
          <p:nvSpPr>
            <p:cNvPr id="9" name="Rectangle 8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0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3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4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5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6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7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8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0" name="Rectangle 29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prstClr val="white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6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09383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ot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6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0" y="2285995"/>
            <a:ext cx="12192000" cy="1188000"/>
          </a:xfrm>
          <a:solidFill>
            <a:schemeClr val="tx2"/>
          </a:solidFill>
        </p:spPr>
        <p:txBody>
          <a:bodyPr lIns="756000" tIns="0" rIns="180000" anchor="ctr">
            <a:noAutofit/>
          </a:bodyPr>
          <a:lstStyle>
            <a:lvl1pPr>
              <a:lnSpc>
                <a:spcPct val="110000"/>
              </a:lnSpc>
              <a:tabLst>
                <a:tab pos="2330450" algn="l"/>
              </a:tabLst>
              <a:defRPr sz="18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tex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07533" y="744071"/>
            <a:ext cx="10663824" cy="1438742"/>
          </a:xfrm>
          <a:prstGeom prst="rect">
            <a:avLst/>
          </a:prstGeom>
          <a:ln>
            <a:noFill/>
          </a:ln>
        </p:spPr>
        <p:txBody>
          <a:bodyPr lIns="0" tIns="9144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ln>
                  <a:noFill/>
                </a:ln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edit divider title (3 lines max)</a:t>
            </a:r>
          </a:p>
        </p:txBody>
      </p:sp>
      <p:sp>
        <p:nvSpPr>
          <p:cNvPr id="6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3432176"/>
            <a:ext cx="12192000" cy="3425827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7" name="Rectangle 6"/>
          <p:cNvSpPr/>
          <p:nvPr userDrawn="1"/>
        </p:nvSpPr>
        <p:spPr>
          <a:xfrm>
            <a:off x="0" y="3432174"/>
            <a:ext cx="12192000" cy="34337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8" name="TextBox 35"/>
          <p:cNvSpPr txBox="1">
            <a:spLocks noChangeArrowheads="1"/>
          </p:cNvSpPr>
          <p:nvPr userDrawn="1"/>
        </p:nvSpPr>
        <p:spPr bwMode="auto">
          <a:xfrm>
            <a:off x="10502902" y="4243391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9" name="TextBox 36"/>
          <p:cNvSpPr txBox="1">
            <a:spLocks noChangeArrowheads="1"/>
          </p:cNvSpPr>
          <p:nvPr userDrawn="1"/>
        </p:nvSpPr>
        <p:spPr bwMode="auto">
          <a:xfrm>
            <a:off x="171451" y="4243391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10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1" name="Rectangle 10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5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6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7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8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9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0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1" name="Group 30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2" name="Rectangle 31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883477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ght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4419" y="3506788"/>
            <a:ext cx="5232399" cy="2514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baseline="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626534" y="325941"/>
            <a:ext cx="5230284" cy="28951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GB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632700" y="5826125"/>
            <a:ext cx="2971800" cy="88423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8" name="TextBox 35"/>
          <p:cNvSpPr txBox="1">
            <a:spLocks noChangeArrowheads="1"/>
          </p:cNvSpPr>
          <p:nvPr userDrawn="1"/>
        </p:nvSpPr>
        <p:spPr bwMode="auto">
          <a:xfrm>
            <a:off x="7632700" y="288925"/>
            <a:ext cx="2971800" cy="88423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9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0" name="Rectangle 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0" name="Group 2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1" name="Rectangle 3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418025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No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419" y="1214422"/>
            <a:ext cx="8805356" cy="200502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divider title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4417" y="3506788"/>
            <a:ext cx="5232400" cy="2514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grpSp>
        <p:nvGrpSpPr>
          <p:cNvPr id="8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0" name="Rectangle 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0" name="Group 2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1" name="Rectangle 3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prstClr val="white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7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32846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364478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ctivity 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 txBox="1">
            <a:spLocks/>
          </p:cNvSpPr>
          <p:nvPr/>
        </p:nvSpPr>
        <p:spPr>
          <a:xfrm>
            <a:off x="9742889" y="2597150"/>
            <a:ext cx="2073524" cy="2984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2100">
                <a:solidFill>
                  <a:prstClr val="black"/>
                </a:solidFill>
              </a:rPr>
              <a:t>Total time:</a:t>
            </a:r>
            <a:endParaRPr lang="en-US" sz="2100" b="1">
              <a:solidFill>
                <a:srgbClr val="10CF9B"/>
              </a:solidFill>
            </a:endParaRPr>
          </a:p>
        </p:txBody>
      </p:sp>
      <p:sp>
        <p:nvSpPr>
          <p:cNvPr id="4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[Activity instructions]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9" y="1524000"/>
            <a:ext cx="7300381" cy="4497389"/>
          </a:xfrm>
        </p:spPr>
        <p:txBody>
          <a:bodyPr/>
          <a:lstStyle>
            <a:lvl1pPr marL="342886" indent="-342886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100"/>
            </a:lvl1pPr>
            <a:lvl2pPr marL="700060" indent="-342886">
              <a:buFont typeface="+mj-lt"/>
              <a:buAutoNum type="arabicPeriod"/>
              <a:defRPr sz="1800"/>
            </a:lvl2pPr>
            <a:lvl3pPr marL="966749" indent="-342886">
              <a:buFont typeface="+mj-lt"/>
              <a:buAutoNum type="arabicPeriod"/>
              <a:defRPr sz="1500"/>
            </a:lvl3pPr>
            <a:lvl4pPr>
              <a:buFont typeface="+mj-lt"/>
              <a:buAutoNum type="arabicPeriod"/>
              <a:defRPr sz="1400"/>
            </a:lvl4pPr>
            <a:lvl5pPr>
              <a:buFont typeface="+mj-lt"/>
              <a:buAutoNum type="arabicPeriod"/>
              <a:defRPr sz="1400"/>
            </a:lvl5pPr>
          </a:lstStyle>
          <a:p>
            <a:pPr lvl="0"/>
            <a:r>
              <a:rPr lang="en-US"/>
              <a:t>[Insert step]</a:t>
            </a:r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952143" y="2900680"/>
            <a:ext cx="1665183" cy="37719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XX minutes</a:t>
            </a:r>
          </a:p>
        </p:txBody>
      </p:sp>
      <p:grpSp>
        <p:nvGrpSpPr>
          <p:cNvPr id="18" name="Stopwatch"/>
          <p:cNvGrpSpPr/>
          <p:nvPr userDrawn="1"/>
        </p:nvGrpSpPr>
        <p:grpSpPr>
          <a:xfrm>
            <a:off x="10419329" y="1551316"/>
            <a:ext cx="766423" cy="766422"/>
            <a:chOff x="7113229" y="3790352"/>
            <a:chExt cx="766422" cy="766422"/>
          </a:xfrm>
        </p:grpSpPr>
        <p:sp>
          <p:nvSpPr>
            <p:cNvPr id="19" name="Oval 18"/>
            <p:cNvSpPr/>
            <p:nvPr/>
          </p:nvSpPr>
          <p:spPr bwMode="auto">
            <a:xfrm>
              <a:off x="7113229" y="37903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7275459" y="3886586"/>
              <a:ext cx="443873" cy="545379"/>
              <a:chOff x="5020705" y="3838058"/>
              <a:chExt cx="557977" cy="685577"/>
            </a:xfrm>
            <a:solidFill>
              <a:schemeClr val="accent2"/>
            </a:solidFill>
          </p:grpSpPr>
          <p:sp>
            <p:nvSpPr>
              <p:cNvPr id="21" name="Freeform 338"/>
              <p:cNvSpPr>
                <a:spLocks noEditPoints="1"/>
              </p:cNvSpPr>
              <p:nvPr/>
            </p:nvSpPr>
            <p:spPr bwMode="auto">
              <a:xfrm>
                <a:off x="5236975" y="4028376"/>
                <a:ext cx="125437" cy="278989"/>
              </a:xfrm>
              <a:custGeom>
                <a:avLst/>
                <a:gdLst>
                  <a:gd name="T0" fmla="*/ 24 w 40"/>
                  <a:gd name="T1" fmla="*/ 48 h 88"/>
                  <a:gd name="T2" fmla="*/ 24 w 40"/>
                  <a:gd name="T3" fmla="*/ 4 h 88"/>
                  <a:gd name="T4" fmla="*/ 20 w 40"/>
                  <a:gd name="T5" fmla="*/ 0 h 88"/>
                  <a:gd name="T6" fmla="*/ 16 w 40"/>
                  <a:gd name="T7" fmla="*/ 4 h 88"/>
                  <a:gd name="T8" fmla="*/ 16 w 40"/>
                  <a:gd name="T9" fmla="*/ 48 h 88"/>
                  <a:gd name="T10" fmla="*/ 0 w 40"/>
                  <a:gd name="T11" fmla="*/ 68 h 88"/>
                  <a:gd name="T12" fmla="*/ 20 w 40"/>
                  <a:gd name="T13" fmla="*/ 88 h 88"/>
                  <a:gd name="T14" fmla="*/ 40 w 40"/>
                  <a:gd name="T15" fmla="*/ 68 h 88"/>
                  <a:gd name="T16" fmla="*/ 24 w 40"/>
                  <a:gd name="T17" fmla="*/ 48 h 88"/>
                  <a:gd name="T18" fmla="*/ 20 w 40"/>
                  <a:gd name="T19" fmla="*/ 80 h 88"/>
                  <a:gd name="T20" fmla="*/ 8 w 40"/>
                  <a:gd name="T21" fmla="*/ 68 h 88"/>
                  <a:gd name="T22" fmla="*/ 20 w 40"/>
                  <a:gd name="T23" fmla="*/ 56 h 88"/>
                  <a:gd name="T24" fmla="*/ 32 w 40"/>
                  <a:gd name="T25" fmla="*/ 68 h 88"/>
                  <a:gd name="T26" fmla="*/ 20 w 40"/>
                  <a:gd name="T27" fmla="*/ 8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88">
                    <a:moveTo>
                      <a:pt x="24" y="48"/>
                    </a:moveTo>
                    <a:cubicBezTo>
                      <a:pt x="24" y="4"/>
                      <a:pt x="24" y="4"/>
                      <a:pt x="24" y="4"/>
                    </a:cubicBezTo>
                    <a:cubicBezTo>
                      <a:pt x="24" y="2"/>
                      <a:pt x="22" y="0"/>
                      <a:pt x="20" y="0"/>
                    </a:cubicBezTo>
                    <a:cubicBezTo>
                      <a:pt x="18" y="0"/>
                      <a:pt x="16" y="2"/>
                      <a:pt x="16" y="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7" y="50"/>
                      <a:pt x="0" y="58"/>
                      <a:pt x="0" y="68"/>
                    </a:cubicBezTo>
                    <a:cubicBezTo>
                      <a:pt x="0" y="79"/>
                      <a:pt x="9" y="88"/>
                      <a:pt x="20" y="88"/>
                    </a:cubicBezTo>
                    <a:cubicBezTo>
                      <a:pt x="31" y="88"/>
                      <a:pt x="40" y="79"/>
                      <a:pt x="40" y="68"/>
                    </a:cubicBezTo>
                    <a:cubicBezTo>
                      <a:pt x="40" y="58"/>
                      <a:pt x="33" y="50"/>
                      <a:pt x="24" y="48"/>
                    </a:cubicBezTo>
                    <a:close/>
                    <a:moveTo>
                      <a:pt x="20" y="80"/>
                    </a:moveTo>
                    <a:cubicBezTo>
                      <a:pt x="13" y="80"/>
                      <a:pt x="8" y="75"/>
                      <a:pt x="8" y="68"/>
                    </a:cubicBezTo>
                    <a:cubicBezTo>
                      <a:pt x="8" y="61"/>
                      <a:pt x="13" y="56"/>
                      <a:pt x="20" y="56"/>
                    </a:cubicBezTo>
                    <a:cubicBezTo>
                      <a:pt x="27" y="56"/>
                      <a:pt x="32" y="61"/>
                      <a:pt x="32" y="68"/>
                    </a:cubicBezTo>
                    <a:cubicBezTo>
                      <a:pt x="32" y="75"/>
                      <a:pt x="27" y="80"/>
                      <a:pt x="20" y="8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339"/>
              <p:cNvSpPr>
                <a:spLocks noEditPoints="1"/>
              </p:cNvSpPr>
              <p:nvPr/>
            </p:nvSpPr>
            <p:spPr bwMode="auto">
              <a:xfrm>
                <a:off x="5020705" y="3959169"/>
                <a:ext cx="557977" cy="564466"/>
              </a:xfrm>
              <a:custGeom>
                <a:avLst/>
                <a:gdLst>
                  <a:gd name="T0" fmla="*/ 158 w 176"/>
                  <a:gd name="T1" fmla="*/ 37 h 178"/>
                  <a:gd name="T2" fmla="*/ 159 w 176"/>
                  <a:gd name="T3" fmla="*/ 37 h 178"/>
                  <a:gd name="T4" fmla="*/ 169 w 176"/>
                  <a:gd name="T5" fmla="*/ 26 h 178"/>
                  <a:gd name="T6" fmla="*/ 169 w 176"/>
                  <a:gd name="T7" fmla="*/ 10 h 178"/>
                  <a:gd name="T8" fmla="*/ 164 w 176"/>
                  <a:gd name="T9" fmla="*/ 5 h 178"/>
                  <a:gd name="T10" fmla="*/ 148 w 176"/>
                  <a:gd name="T11" fmla="*/ 5 h 178"/>
                  <a:gd name="T12" fmla="*/ 137 w 176"/>
                  <a:gd name="T13" fmla="*/ 15 h 178"/>
                  <a:gd name="T14" fmla="*/ 136 w 176"/>
                  <a:gd name="T15" fmla="*/ 16 h 178"/>
                  <a:gd name="T16" fmla="*/ 88 w 176"/>
                  <a:gd name="T17" fmla="*/ 2 h 178"/>
                  <a:gd name="T18" fmla="*/ 0 w 176"/>
                  <a:gd name="T19" fmla="*/ 90 h 178"/>
                  <a:gd name="T20" fmla="*/ 88 w 176"/>
                  <a:gd name="T21" fmla="*/ 178 h 178"/>
                  <a:gd name="T22" fmla="*/ 176 w 176"/>
                  <a:gd name="T23" fmla="*/ 90 h 178"/>
                  <a:gd name="T24" fmla="*/ 158 w 176"/>
                  <a:gd name="T25" fmla="*/ 37 h 178"/>
                  <a:gd name="T26" fmla="*/ 143 w 176"/>
                  <a:gd name="T27" fmla="*/ 21 h 178"/>
                  <a:gd name="T28" fmla="*/ 153 w 176"/>
                  <a:gd name="T29" fmla="*/ 10 h 178"/>
                  <a:gd name="T30" fmla="*/ 159 w 176"/>
                  <a:gd name="T31" fmla="*/ 10 h 178"/>
                  <a:gd name="T32" fmla="*/ 164 w 176"/>
                  <a:gd name="T33" fmla="*/ 15 h 178"/>
                  <a:gd name="T34" fmla="*/ 164 w 176"/>
                  <a:gd name="T35" fmla="*/ 21 h 178"/>
                  <a:gd name="T36" fmla="*/ 153 w 176"/>
                  <a:gd name="T37" fmla="*/ 31 h 178"/>
                  <a:gd name="T38" fmla="*/ 143 w 176"/>
                  <a:gd name="T39" fmla="*/ 21 h 178"/>
                  <a:gd name="T40" fmla="*/ 143 w 176"/>
                  <a:gd name="T41" fmla="*/ 21 h 178"/>
                  <a:gd name="T42" fmla="*/ 88 w 176"/>
                  <a:gd name="T43" fmla="*/ 170 h 178"/>
                  <a:gd name="T44" fmla="*/ 8 w 176"/>
                  <a:gd name="T45" fmla="*/ 90 h 178"/>
                  <a:gd name="T46" fmla="*/ 88 w 176"/>
                  <a:gd name="T47" fmla="*/ 10 h 178"/>
                  <a:gd name="T48" fmla="*/ 168 w 176"/>
                  <a:gd name="T49" fmla="*/ 90 h 178"/>
                  <a:gd name="T50" fmla="*/ 88 w 176"/>
                  <a:gd name="T51" fmla="*/ 17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6" h="178">
                    <a:moveTo>
                      <a:pt x="158" y="37"/>
                    </a:moveTo>
                    <a:cubicBezTo>
                      <a:pt x="158" y="37"/>
                      <a:pt x="159" y="37"/>
                      <a:pt x="159" y="37"/>
                    </a:cubicBezTo>
                    <a:cubicBezTo>
                      <a:pt x="169" y="26"/>
                      <a:pt x="169" y="26"/>
                      <a:pt x="169" y="26"/>
                    </a:cubicBezTo>
                    <a:cubicBezTo>
                      <a:pt x="174" y="22"/>
                      <a:pt x="174" y="14"/>
                      <a:pt x="169" y="10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0" y="0"/>
                      <a:pt x="152" y="0"/>
                      <a:pt x="148" y="5"/>
                    </a:cubicBezTo>
                    <a:cubicBezTo>
                      <a:pt x="137" y="15"/>
                      <a:pt x="137" y="15"/>
                      <a:pt x="137" y="15"/>
                    </a:cubicBezTo>
                    <a:cubicBezTo>
                      <a:pt x="137" y="16"/>
                      <a:pt x="136" y="16"/>
                      <a:pt x="136" y="16"/>
                    </a:cubicBezTo>
                    <a:cubicBezTo>
                      <a:pt x="122" y="7"/>
                      <a:pt x="106" y="2"/>
                      <a:pt x="88" y="2"/>
                    </a:cubicBezTo>
                    <a:cubicBezTo>
                      <a:pt x="39" y="2"/>
                      <a:pt x="0" y="41"/>
                      <a:pt x="0" y="90"/>
                    </a:cubicBezTo>
                    <a:cubicBezTo>
                      <a:pt x="0" y="139"/>
                      <a:pt x="39" y="178"/>
                      <a:pt x="88" y="178"/>
                    </a:cubicBezTo>
                    <a:cubicBezTo>
                      <a:pt x="137" y="178"/>
                      <a:pt x="176" y="139"/>
                      <a:pt x="176" y="90"/>
                    </a:cubicBezTo>
                    <a:cubicBezTo>
                      <a:pt x="176" y="70"/>
                      <a:pt x="169" y="52"/>
                      <a:pt x="158" y="37"/>
                    </a:cubicBezTo>
                    <a:close/>
                    <a:moveTo>
                      <a:pt x="143" y="21"/>
                    </a:moveTo>
                    <a:cubicBezTo>
                      <a:pt x="153" y="10"/>
                      <a:pt x="153" y="10"/>
                      <a:pt x="153" y="10"/>
                    </a:cubicBezTo>
                    <a:cubicBezTo>
                      <a:pt x="155" y="9"/>
                      <a:pt x="157" y="9"/>
                      <a:pt x="159" y="10"/>
                    </a:cubicBezTo>
                    <a:cubicBezTo>
                      <a:pt x="164" y="15"/>
                      <a:pt x="164" y="15"/>
                      <a:pt x="164" y="15"/>
                    </a:cubicBezTo>
                    <a:cubicBezTo>
                      <a:pt x="165" y="17"/>
                      <a:pt x="165" y="19"/>
                      <a:pt x="164" y="21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150" y="27"/>
                      <a:pt x="146" y="24"/>
                      <a:pt x="143" y="21"/>
                    </a:cubicBezTo>
                    <a:cubicBezTo>
                      <a:pt x="143" y="21"/>
                      <a:pt x="143" y="21"/>
                      <a:pt x="143" y="21"/>
                    </a:cubicBezTo>
                    <a:close/>
                    <a:moveTo>
                      <a:pt x="88" y="170"/>
                    </a:moveTo>
                    <a:cubicBezTo>
                      <a:pt x="44" y="170"/>
                      <a:pt x="8" y="134"/>
                      <a:pt x="8" y="90"/>
                    </a:cubicBezTo>
                    <a:cubicBezTo>
                      <a:pt x="8" y="46"/>
                      <a:pt x="44" y="10"/>
                      <a:pt x="88" y="10"/>
                    </a:cubicBezTo>
                    <a:cubicBezTo>
                      <a:pt x="132" y="10"/>
                      <a:pt x="168" y="46"/>
                      <a:pt x="168" y="90"/>
                    </a:cubicBezTo>
                    <a:cubicBezTo>
                      <a:pt x="168" y="134"/>
                      <a:pt x="132" y="170"/>
                      <a:pt x="88" y="1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340"/>
              <p:cNvSpPr>
                <a:spLocks noEditPoints="1"/>
              </p:cNvSpPr>
              <p:nvPr/>
            </p:nvSpPr>
            <p:spPr bwMode="auto">
              <a:xfrm>
                <a:off x="5211023" y="3838058"/>
                <a:ext cx="177342" cy="101648"/>
              </a:xfrm>
              <a:custGeom>
                <a:avLst/>
                <a:gdLst>
                  <a:gd name="T0" fmla="*/ 12 w 56"/>
                  <a:gd name="T1" fmla="*/ 32 h 32"/>
                  <a:gd name="T2" fmla="*/ 44 w 56"/>
                  <a:gd name="T3" fmla="*/ 32 h 32"/>
                  <a:gd name="T4" fmla="*/ 44 w 56"/>
                  <a:gd name="T5" fmla="*/ 32 h 32"/>
                  <a:gd name="T6" fmla="*/ 56 w 56"/>
                  <a:gd name="T7" fmla="*/ 20 h 32"/>
                  <a:gd name="T8" fmla="*/ 56 w 56"/>
                  <a:gd name="T9" fmla="*/ 16 h 32"/>
                  <a:gd name="T10" fmla="*/ 45 w 56"/>
                  <a:gd name="T11" fmla="*/ 2 h 32"/>
                  <a:gd name="T12" fmla="*/ 11 w 56"/>
                  <a:gd name="T13" fmla="*/ 2 h 32"/>
                  <a:gd name="T14" fmla="*/ 0 w 56"/>
                  <a:gd name="T15" fmla="*/ 16 h 32"/>
                  <a:gd name="T16" fmla="*/ 0 w 56"/>
                  <a:gd name="T17" fmla="*/ 20 h 32"/>
                  <a:gd name="T18" fmla="*/ 12 w 56"/>
                  <a:gd name="T19" fmla="*/ 32 h 32"/>
                  <a:gd name="T20" fmla="*/ 8 w 56"/>
                  <a:gd name="T21" fmla="*/ 16 h 32"/>
                  <a:gd name="T22" fmla="*/ 13 w 56"/>
                  <a:gd name="T23" fmla="*/ 10 h 32"/>
                  <a:gd name="T24" fmla="*/ 28 w 56"/>
                  <a:gd name="T25" fmla="*/ 8 h 32"/>
                  <a:gd name="T26" fmla="*/ 43 w 56"/>
                  <a:gd name="T27" fmla="*/ 10 h 32"/>
                  <a:gd name="T28" fmla="*/ 48 w 56"/>
                  <a:gd name="T29" fmla="*/ 16 h 32"/>
                  <a:gd name="T30" fmla="*/ 48 w 56"/>
                  <a:gd name="T31" fmla="*/ 20 h 32"/>
                  <a:gd name="T32" fmla="*/ 44 w 56"/>
                  <a:gd name="T33" fmla="*/ 24 h 32"/>
                  <a:gd name="T34" fmla="*/ 12 w 56"/>
                  <a:gd name="T35" fmla="*/ 24 h 32"/>
                  <a:gd name="T36" fmla="*/ 8 w 56"/>
                  <a:gd name="T37" fmla="*/ 20 h 32"/>
                  <a:gd name="T38" fmla="*/ 8 w 56"/>
                  <a:gd name="T3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" h="32">
                    <a:moveTo>
                      <a:pt x="12" y="32"/>
                    </a:move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51" y="32"/>
                      <a:pt x="56" y="26"/>
                      <a:pt x="56" y="20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10"/>
                      <a:pt x="51" y="3"/>
                      <a:pt x="45" y="2"/>
                    </a:cubicBezTo>
                    <a:cubicBezTo>
                      <a:pt x="34" y="0"/>
                      <a:pt x="22" y="0"/>
                      <a:pt x="11" y="2"/>
                    </a:cubicBezTo>
                    <a:cubicBezTo>
                      <a:pt x="5" y="3"/>
                      <a:pt x="0" y="10"/>
                      <a:pt x="0" y="1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6"/>
                      <a:pt x="5" y="32"/>
                      <a:pt x="12" y="32"/>
                    </a:cubicBezTo>
                    <a:close/>
                    <a:moveTo>
                      <a:pt x="8" y="16"/>
                    </a:moveTo>
                    <a:cubicBezTo>
                      <a:pt x="8" y="13"/>
                      <a:pt x="10" y="10"/>
                      <a:pt x="13" y="10"/>
                    </a:cubicBezTo>
                    <a:cubicBezTo>
                      <a:pt x="18" y="9"/>
                      <a:pt x="23" y="8"/>
                      <a:pt x="28" y="8"/>
                    </a:cubicBezTo>
                    <a:cubicBezTo>
                      <a:pt x="33" y="8"/>
                      <a:pt x="38" y="9"/>
                      <a:pt x="43" y="10"/>
                    </a:cubicBezTo>
                    <a:cubicBezTo>
                      <a:pt x="46" y="10"/>
                      <a:pt x="48" y="13"/>
                      <a:pt x="48" y="16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2"/>
                      <a:pt x="46" y="24"/>
                      <a:pt x="44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0" y="24"/>
                      <a:pt x="8" y="22"/>
                      <a:pt x="8" y="20"/>
                    </a:cubicBezTo>
                    <a:lnTo>
                      <a:pt x="8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341"/>
              <p:cNvSpPr>
                <a:spLocks/>
              </p:cNvSpPr>
              <p:nvPr/>
            </p:nvSpPr>
            <p:spPr bwMode="auto">
              <a:xfrm>
                <a:off x="5072610" y="4231670"/>
                <a:ext cx="49743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342"/>
              <p:cNvSpPr>
                <a:spLocks/>
              </p:cNvSpPr>
              <p:nvPr/>
            </p:nvSpPr>
            <p:spPr bwMode="auto">
              <a:xfrm>
                <a:off x="5477034" y="4231670"/>
                <a:ext cx="51905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343"/>
              <p:cNvSpPr>
                <a:spLocks/>
              </p:cNvSpPr>
              <p:nvPr/>
            </p:nvSpPr>
            <p:spPr bwMode="auto">
              <a:xfrm>
                <a:off x="5286717" y="4421987"/>
                <a:ext cx="25952" cy="5190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5274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brief 2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10050"/>
          </a:xfrm>
          <a:prstGeom prst="rect">
            <a:avLst/>
          </a:prstGeom>
        </p:spPr>
      </p:pic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028406"/>
            <a:ext cx="9144000" cy="1524794"/>
          </a:xfrm>
        </p:spPr>
        <p:txBody>
          <a:bodyPr wrap="square" anchor="t">
            <a:noAutofit/>
          </a:bodyPr>
          <a:lstStyle>
            <a:lvl1pPr marL="0" indent="0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the questions you want participants to answer during the debrief]</a:t>
            </a:r>
          </a:p>
        </p:txBody>
      </p:sp>
      <p:sp>
        <p:nvSpPr>
          <p:cNvPr id="12" name="Rectangle 11"/>
          <p:cNvSpPr/>
          <p:nvPr/>
        </p:nvSpPr>
        <p:spPr bwMode="ltGray">
          <a:xfrm>
            <a:off x="0" y="3907081"/>
            <a:ext cx="3962400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0" y="3889828"/>
            <a:ext cx="38862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/>
                </a:solidFill>
              </a:rPr>
              <a:t>Product Updates</a:t>
            </a:r>
          </a:p>
        </p:txBody>
      </p:sp>
    </p:spTree>
    <p:extLst>
      <p:ext uri="{BB962C8B-B14F-4D97-AF65-F5344CB8AC3E}">
        <p14:creationId xmlns:p14="http://schemas.microsoft.com/office/powerpoint/2010/main" val="12815394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le 2"/>
          <p:cNvSpPr txBox="1">
            <a:spLocks/>
          </p:cNvSpPr>
          <p:nvPr/>
        </p:nvSpPr>
        <p:spPr>
          <a:xfrm>
            <a:off x="4400669" y="2421782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Q&amp;A</a:t>
            </a:r>
          </a:p>
        </p:txBody>
      </p:sp>
      <p:sp>
        <p:nvSpPr>
          <p:cNvPr id="2" name="Oval 1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4" name="Raise hand"/>
          <p:cNvGrpSpPr/>
          <p:nvPr userDrawn="1"/>
        </p:nvGrpSpPr>
        <p:grpSpPr>
          <a:xfrm>
            <a:off x="2662578" y="2286001"/>
            <a:ext cx="766423" cy="766422"/>
            <a:chOff x="1065213" y="606770"/>
            <a:chExt cx="766422" cy="766422"/>
          </a:xfrm>
        </p:grpSpPr>
        <p:sp>
          <p:nvSpPr>
            <p:cNvPr id="15" name="Oval 14"/>
            <p:cNvSpPr/>
            <p:nvPr/>
          </p:nvSpPr>
          <p:spPr bwMode="black">
            <a:xfrm>
              <a:off x="1065213" y="606770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black">
            <a:xfrm>
              <a:off x="1319065" y="736600"/>
              <a:ext cx="249721" cy="508801"/>
            </a:xfrm>
            <a:custGeom>
              <a:avLst/>
              <a:gdLst>
                <a:gd name="T0" fmla="*/ 156 w 178"/>
                <a:gd name="T1" fmla="*/ 51 h 365"/>
                <a:gd name="T2" fmla="*/ 145 w 178"/>
                <a:gd name="T3" fmla="*/ 41 h 365"/>
                <a:gd name="T4" fmla="*/ 122 w 178"/>
                <a:gd name="T5" fmla="*/ 17 h 365"/>
                <a:gd name="T6" fmla="*/ 89 w 178"/>
                <a:gd name="T7" fmla="*/ 0 h 365"/>
                <a:gd name="T8" fmla="*/ 56 w 178"/>
                <a:gd name="T9" fmla="*/ 17 h 365"/>
                <a:gd name="T10" fmla="*/ 33 w 178"/>
                <a:gd name="T11" fmla="*/ 109 h 365"/>
                <a:gd name="T12" fmla="*/ 0 w 178"/>
                <a:gd name="T13" fmla="*/ 115 h 365"/>
                <a:gd name="T14" fmla="*/ 30 w 178"/>
                <a:gd name="T15" fmla="*/ 281 h 365"/>
                <a:gd name="T16" fmla="*/ 33 w 178"/>
                <a:gd name="T17" fmla="*/ 284 h 365"/>
                <a:gd name="T18" fmla="*/ 39 w 178"/>
                <a:gd name="T19" fmla="*/ 365 h 365"/>
                <a:gd name="T20" fmla="*/ 39 w 178"/>
                <a:gd name="T21" fmla="*/ 365 h 365"/>
                <a:gd name="T22" fmla="*/ 45 w 178"/>
                <a:gd name="T23" fmla="*/ 361 h 365"/>
                <a:gd name="T24" fmla="*/ 59 w 178"/>
                <a:gd name="T25" fmla="*/ 299 h 365"/>
                <a:gd name="T26" fmla="*/ 66 w 178"/>
                <a:gd name="T27" fmla="*/ 295 h 365"/>
                <a:gd name="T28" fmla="*/ 58 w 178"/>
                <a:gd name="T29" fmla="*/ 286 h 365"/>
                <a:gd name="T30" fmla="*/ 57 w 178"/>
                <a:gd name="T31" fmla="*/ 285 h 365"/>
                <a:gd name="T32" fmla="*/ 37 w 178"/>
                <a:gd name="T33" fmla="*/ 273 h 365"/>
                <a:gd name="T34" fmla="*/ 11 w 178"/>
                <a:gd name="T35" fmla="*/ 133 h 365"/>
                <a:gd name="T36" fmla="*/ 13 w 178"/>
                <a:gd name="T37" fmla="*/ 113 h 365"/>
                <a:gd name="T38" fmla="*/ 33 w 178"/>
                <a:gd name="T39" fmla="*/ 177 h 365"/>
                <a:gd name="T40" fmla="*/ 39 w 178"/>
                <a:gd name="T41" fmla="*/ 182 h 365"/>
                <a:gd name="T42" fmla="*/ 90 w 178"/>
                <a:gd name="T43" fmla="*/ 233 h 365"/>
                <a:gd name="T44" fmla="*/ 45 w 178"/>
                <a:gd name="T45" fmla="*/ 171 h 365"/>
                <a:gd name="T46" fmla="*/ 56 w 178"/>
                <a:gd name="T47" fmla="*/ 28 h 365"/>
                <a:gd name="T48" fmla="*/ 67 w 178"/>
                <a:gd name="T49" fmla="*/ 41 h 365"/>
                <a:gd name="T50" fmla="*/ 72 w 178"/>
                <a:gd name="T51" fmla="*/ 146 h 365"/>
                <a:gd name="T52" fmla="*/ 72 w 178"/>
                <a:gd name="T53" fmla="*/ 146 h 365"/>
                <a:gd name="T54" fmla="*/ 78 w 178"/>
                <a:gd name="T55" fmla="*/ 24 h 365"/>
                <a:gd name="T56" fmla="*/ 78 w 178"/>
                <a:gd name="T57" fmla="*/ 23 h 365"/>
                <a:gd name="T58" fmla="*/ 100 w 178"/>
                <a:gd name="T59" fmla="*/ 23 h 365"/>
                <a:gd name="T60" fmla="*/ 100 w 178"/>
                <a:gd name="T61" fmla="*/ 23 h 365"/>
                <a:gd name="T62" fmla="*/ 100 w 178"/>
                <a:gd name="T63" fmla="*/ 39 h 365"/>
                <a:gd name="T64" fmla="*/ 100 w 178"/>
                <a:gd name="T65" fmla="*/ 140 h 365"/>
                <a:gd name="T66" fmla="*/ 111 w 178"/>
                <a:gd name="T67" fmla="*/ 140 h 365"/>
                <a:gd name="T68" fmla="*/ 122 w 178"/>
                <a:gd name="T69" fmla="*/ 28 h 365"/>
                <a:gd name="T70" fmla="*/ 133 w 178"/>
                <a:gd name="T71" fmla="*/ 40 h 365"/>
                <a:gd name="T72" fmla="*/ 139 w 178"/>
                <a:gd name="T73" fmla="*/ 155 h 365"/>
                <a:gd name="T74" fmla="*/ 139 w 178"/>
                <a:gd name="T75" fmla="*/ 155 h 365"/>
                <a:gd name="T76" fmla="*/ 145 w 178"/>
                <a:gd name="T77" fmla="*/ 149 h 365"/>
                <a:gd name="T78" fmla="*/ 145 w 178"/>
                <a:gd name="T79" fmla="*/ 74 h 365"/>
                <a:gd name="T80" fmla="*/ 156 w 178"/>
                <a:gd name="T81" fmla="*/ 62 h 365"/>
                <a:gd name="T82" fmla="*/ 167 w 178"/>
                <a:gd name="T83" fmla="*/ 74 h 365"/>
                <a:gd name="T84" fmla="*/ 143 w 178"/>
                <a:gd name="T85" fmla="*/ 271 h 365"/>
                <a:gd name="T86" fmla="*/ 115 w 178"/>
                <a:gd name="T87" fmla="*/ 288 h 365"/>
                <a:gd name="T88" fmla="*/ 117 w 178"/>
                <a:gd name="T89" fmla="*/ 299 h 365"/>
                <a:gd name="T90" fmla="*/ 133 w 178"/>
                <a:gd name="T91" fmla="*/ 292 h 365"/>
                <a:gd name="T92" fmla="*/ 139 w 178"/>
                <a:gd name="T93" fmla="*/ 365 h 365"/>
                <a:gd name="T94" fmla="*/ 139 w 178"/>
                <a:gd name="T95" fmla="*/ 365 h 365"/>
                <a:gd name="T96" fmla="*/ 145 w 178"/>
                <a:gd name="T97" fmla="*/ 361 h 365"/>
                <a:gd name="T98" fmla="*/ 149 w 178"/>
                <a:gd name="T99" fmla="*/ 280 h 365"/>
                <a:gd name="T100" fmla="*/ 178 w 178"/>
                <a:gd name="T101" fmla="*/ 215 h 365"/>
                <a:gd name="T102" fmla="*/ 178 w 178"/>
                <a:gd name="T103" fmla="*/ 7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8" h="365">
                  <a:moveTo>
                    <a:pt x="178" y="73"/>
                  </a:moveTo>
                  <a:cubicBezTo>
                    <a:pt x="178" y="61"/>
                    <a:pt x="168" y="51"/>
                    <a:pt x="156" y="51"/>
                  </a:cubicBezTo>
                  <a:cubicBezTo>
                    <a:pt x="152" y="51"/>
                    <a:pt x="148" y="52"/>
                    <a:pt x="145" y="54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5" y="40"/>
                    <a:pt x="145" y="40"/>
                    <a:pt x="145" y="39"/>
                  </a:cubicBezTo>
                  <a:cubicBezTo>
                    <a:pt x="145" y="27"/>
                    <a:pt x="135" y="17"/>
                    <a:pt x="122" y="17"/>
                  </a:cubicBezTo>
                  <a:cubicBezTo>
                    <a:pt x="118" y="17"/>
                    <a:pt x="115" y="18"/>
                    <a:pt x="111" y="20"/>
                  </a:cubicBezTo>
                  <a:cubicBezTo>
                    <a:pt x="110" y="9"/>
                    <a:pt x="100" y="0"/>
                    <a:pt x="89" y="0"/>
                  </a:cubicBezTo>
                  <a:cubicBezTo>
                    <a:pt x="78" y="0"/>
                    <a:pt x="68" y="9"/>
                    <a:pt x="67" y="20"/>
                  </a:cubicBezTo>
                  <a:cubicBezTo>
                    <a:pt x="64" y="18"/>
                    <a:pt x="60" y="17"/>
                    <a:pt x="56" y="17"/>
                  </a:cubicBezTo>
                  <a:cubicBezTo>
                    <a:pt x="43" y="17"/>
                    <a:pt x="33" y="27"/>
                    <a:pt x="33" y="39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28" y="104"/>
                    <a:pt x="21" y="102"/>
                    <a:pt x="13" y="102"/>
                  </a:cubicBezTo>
                  <a:cubicBezTo>
                    <a:pt x="6" y="102"/>
                    <a:pt x="0" y="108"/>
                    <a:pt x="0" y="115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41"/>
                    <a:pt x="12" y="265"/>
                    <a:pt x="30" y="281"/>
                  </a:cubicBezTo>
                  <a:cubicBezTo>
                    <a:pt x="30" y="281"/>
                    <a:pt x="30" y="282"/>
                    <a:pt x="31" y="282"/>
                  </a:cubicBezTo>
                  <a:cubicBezTo>
                    <a:pt x="32" y="283"/>
                    <a:pt x="32" y="284"/>
                    <a:pt x="33" y="284"/>
                  </a:cubicBezTo>
                  <a:cubicBezTo>
                    <a:pt x="33" y="361"/>
                    <a:pt x="33" y="361"/>
                    <a:pt x="33" y="361"/>
                  </a:cubicBezTo>
                  <a:cubicBezTo>
                    <a:pt x="33" y="363"/>
                    <a:pt x="36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42" y="365"/>
                    <a:pt x="45" y="363"/>
                    <a:pt x="45" y="361"/>
                  </a:cubicBezTo>
                  <a:cubicBezTo>
                    <a:pt x="45" y="292"/>
                    <a:pt x="45" y="292"/>
                    <a:pt x="45" y="292"/>
                  </a:cubicBezTo>
                  <a:cubicBezTo>
                    <a:pt x="49" y="295"/>
                    <a:pt x="54" y="297"/>
                    <a:pt x="59" y="299"/>
                  </a:cubicBezTo>
                  <a:cubicBezTo>
                    <a:pt x="59" y="299"/>
                    <a:pt x="60" y="299"/>
                    <a:pt x="61" y="299"/>
                  </a:cubicBezTo>
                  <a:cubicBezTo>
                    <a:pt x="63" y="299"/>
                    <a:pt x="65" y="297"/>
                    <a:pt x="66" y="295"/>
                  </a:cubicBezTo>
                  <a:cubicBezTo>
                    <a:pt x="67" y="292"/>
                    <a:pt x="66" y="289"/>
                    <a:pt x="63" y="288"/>
                  </a:cubicBezTo>
                  <a:cubicBezTo>
                    <a:pt x="61" y="287"/>
                    <a:pt x="59" y="286"/>
                    <a:pt x="58" y="286"/>
                  </a:cubicBezTo>
                  <a:cubicBezTo>
                    <a:pt x="58" y="286"/>
                    <a:pt x="58" y="286"/>
                    <a:pt x="58" y="286"/>
                  </a:cubicBezTo>
                  <a:cubicBezTo>
                    <a:pt x="58" y="286"/>
                    <a:pt x="57" y="286"/>
                    <a:pt x="57" y="285"/>
                  </a:cubicBezTo>
                  <a:cubicBezTo>
                    <a:pt x="50" y="282"/>
                    <a:pt x="44" y="278"/>
                    <a:pt x="38" y="273"/>
                  </a:cubicBezTo>
                  <a:cubicBezTo>
                    <a:pt x="38" y="273"/>
                    <a:pt x="37" y="273"/>
                    <a:pt x="37" y="273"/>
                  </a:cubicBezTo>
                  <a:cubicBezTo>
                    <a:pt x="21" y="258"/>
                    <a:pt x="11" y="238"/>
                    <a:pt x="11" y="215"/>
                  </a:cubicBezTo>
                  <a:cubicBezTo>
                    <a:pt x="11" y="133"/>
                    <a:pt x="11" y="133"/>
                    <a:pt x="11" y="13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11" y="114"/>
                    <a:pt x="12" y="113"/>
                    <a:pt x="13" y="113"/>
                  </a:cubicBezTo>
                  <a:cubicBezTo>
                    <a:pt x="24" y="113"/>
                    <a:pt x="33" y="122"/>
                    <a:pt x="33" y="133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33" y="180"/>
                    <a:pt x="36" y="182"/>
                    <a:pt x="39" y="182"/>
                  </a:cubicBezTo>
                  <a:cubicBezTo>
                    <a:pt x="39" y="182"/>
                    <a:pt x="39" y="182"/>
                    <a:pt x="39" y="182"/>
                  </a:cubicBezTo>
                  <a:cubicBezTo>
                    <a:pt x="64" y="182"/>
                    <a:pt x="84" y="202"/>
                    <a:pt x="84" y="227"/>
                  </a:cubicBezTo>
                  <a:cubicBezTo>
                    <a:pt x="84" y="230"/>
                    <a:pt x="86" y="233"/>
                    <a:pt x="90" y="233"/>
                  </a:cubicBezTo>
                  <a:cubicBezTo>
                    <a:pt x="93" y="233"/>
                    <a:pt x="95" y="230"/>
                    <a:pt x="95" y="227"/>
                  </a:cubicBezTo>
                  <a:cubicBezTo>
                    <a:pt x="95" y="198"/>
                    <a:pt x="73" y="174"/>
                    <a:pt x="45" y="171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3"/>
                    <a:pt x="49" y="28"/>
                    <a:pt x="56" y="28"/>
                  </a:cubicBezTo>
                  <a:cubicBezTo>
                    <a:pt x="62" y="28"/>
                    <a:pt x="67" y="33"/>
                    <a:pt x="67" y="39"/>
                  </a:cubicBezTo>
                  <a:cubicBezTo>
                    <a:pt x="67" y="40"/>
                    <a:pt x="67" y="40"/>
                    <a:pt x="67" y="41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67" y="143"/>
                    <a:pt x="69" y="146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5" y="146"/>
                    <a:pt x="78" y="143"/>
                    <a:pt x="78" y="14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16"/>
                    <a:pt x="83" y="11"/>
                    <a:pt x="89" y="11"/>
                  </a:cubicBezTo>
                  <a:cubicBezTo>
                    <a:pt x="95" y="11"/>
                    <a:pt x="100" y="16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140"/>
                    <a:pt x="100" y="140"/>
                    <a:pt x="100" y="140"/>
                  </a:cubicBezTo>
                  <a:cubicBezTo>
                    <a:pt x="100" y="143"/>
                    <a:pt x="103" y="146"/>
                    <a:pt x="106" y="146"/>
                  </a:cubicBezTo>
                  <a:cubicBezTo>
                    <a:pt x="109" y="146"/>
                    <a:pt x="111" y="143"/>
                    <a:pt x="111" y="140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2" y="33"/>
                    <a:pt x="117" y="28"/>
                    <a:pt x="122" y="28"/>
                  </a:cubicBezTo>
                  <a:cubicBezTo>
                    <a:pt x="128" y="28"/>
                    <a:pt x="133" y="33"/>
                    <a:pt x="133" y="39"/>
                  </a:cubicBezTo>
                  <a:cubicBezTo>
                    <a:pt x="133" y="39"/>
                    <a:pt x="133" y="40"/>
                    <a:pt x="133" y="40"/>
                  </a:cubicBezTo>
                  <a:cubicBezTo>
                    <a:pt x="133" y="149"/>
                    <a:pt x="133" y="149"/>
                    <a:pt x="133" y="149"/>
                  </a:cubicBezTo>
                  <a:cubicBezTo>
                    <a:pt x="133" y="152"/>
                    <a:pt x="136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42" y="155"/>
                    <a:pt x="145" y="152"/>
                    <a:pt x="145" y="149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67"/>
                    <a:pt x="150" y="62"/>
                    <a:pt x="156" y="62"/>
                  </a:cubicBezTo>
                  <a:cubicBezTo>
                    <a:pt x="162" y="62"/>
                    <a:pt x="167" y="67"/>
                    <a:pt x="167" y="73"/>
                  </a:cubicBezTo>
                  <a:cubicBezTo>
                    <a:pt x="167" y="73"/>
                    <a:pt x="167" y="73"/>
                    <a:pt x="167" y="74"/>
                  </a:cubicBezTo>
                  <a:cubicBezTo>
                    <a:pt x="167" y="215"/>
                    <a:pt x="167" y="215"/>
                    <a:pt x="167" y="215"/>
                  </a:cubicBezTo>
                  <a:cubicBezTo>
                    <a:pt x="167" y="237"/>
                    <a:pt x="158" y="257"/>
                    <a:pt x="143" y="271"/>
                  </a:cubicBezTo>
                  <a:cubicBezTo>
                    <a:pt x="142" y="271"/>
                    <a:pt x="142" y="271"/>
                    <a:pt x="141" y="272"/>
                  </a:cubicBezTo>
                  <a:cubicBezTo>
                    <a:pt x="134" y="279"/>
                    <a:pt x="125" y="284"/>
                    <a:pt x="115" y="288"/>
                  </a:cubicBezTo>
                  <a:cubicBezTo>
                    <a:pt x="112" y="289"/>
                    <a:pt x="111" y="292"/>
                    <a:pt x="112" y="295"/>
                  </a:cubicBezTo>
                  <a:cubicBezTo>
                    <a:pt x="113" y="297"/>
                    <a:pt x="115" y="299"/>
                    <a:pt x="117" y="299"/>
                  </a:cubicBezTo>
                  <a:cubicBezTo>
                    <a:pt x="118" y="299"/>
                    <a:pt x="119" y="299"/>
                    <a:pt x="119" y="299"/>
                  </a:cubicBezTo>
                  <a:cubicBezTo>
                    <a:pt x="124" y="297"/>
                    <a:pt x="129" y="295"/>
                    <a:pt x="133" y="292"/>
                  </a:cubicBezTo>
                  <a:cubicBezTo>
                    <a:pt x="133" y="361"/>
                    <a:pt x="133" y="361"/>
                    <a:pt x="133" y="361"/>
                  </a:cubicBezTo>
                  <a:cubicBezTo>
                    <a:pt x="133" y="363"/>
                    <a:pt x="136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42" y="365"/>
                    <a:pt x="145" y="363"/>
                    <a:pt x="145" y="361"/>
                  </a:cubicBezTo>
                  <a:cubicBezTo>
                    <a:pt x="145" y="284"/>
                    <a:pt x="145" y="284"/>
                    <a:pt x="145" y="284"/>
                  </a:cubicBezTo>
                  <a:cubicBezTo>
                    <a:pt x="146" y="283"/>
                    <a:pt x="148" y="282"/>
                    <a:pt x="149" y="280"/>
                  </a:cubicBezTo>
                  <a:cubicBezTo>
                    <a:pt x="149" y="280"/>
                    <a:pt x="150" y="280"/>
                    <a:pt x="150" y="280"/>
                  </a:cubicBezTo>
                  <a:cubicBezTo>
                    <a:pt x="167" y="263"/>
                    <a:pt x="178" y="240"/>
                    <a:pt x="178" y="215"/>
                  </a:cubicBezTo>
                  <a:cubicBezTo>
                    <a:pt x="178" y="74"/>
                    <a:pt x="178" y="74"/>
                    <a:pt x="178" y="74"/>
                  </a:cubicBezTo>
                  <a:cubicBezTo>
                    <a:pt x="178" y="74"/>
                    <a:pt x="178" y="73"/>
                    <a:pt x="178" y="73"/>
                  </a:cubicBezTo>
                  <a:close/>
                </a:path>
              </a:pathLst>
            </a:custGeom>
            <a:solidFill>
              <a:srgbClr val="00549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ker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66772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itle 2"/>
          <p:cNvSpPr txBox="1">
            <a:spLocks/>
          </p:cNvSpPr>
          <p:nvPr/>
        </p:nvSpPr>
        <p:spPr>
          <a:xfrm>
            <a:off x="4400669" y="2678784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Video</a:t>
            </a:r>
          </a:p>
        </p:txBody>
      </p:sp>
      <p:sp>
        <p:nvSpPr>
          <p:cNvPr id="31" name="Title 2"/>
          <p:cNvSpPr txBox="1">
            <a:spLocks/>
          </p:cNvSpPr>
          <p:nvPr/>
        </p:nvSpPr>
        <p:spPr>
          <a:xfrm>
            <a:off x="4432420" y="2299745"/>
            <a:ext cx="6572131" cy="50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1" name="Video"/>
          <p:cNvGrpSpPr/>
          <p:nvPr userDrawn="1"/>
        </p:nvGrpSpPr>
        <p:grpSpPr bwMode="black">
          <a:xfrm>
            <a:off x="2662578" y="2281579"/>
            <a:ext cx="766423" cy="766422"/>
            <a:chOff x="1056368" y="615900"/>
            <a:chExt cx="766422" cy="766422"/>
          </a:xfrm>
        </p:grpSpPr>
        <p:sp>
          <p:nvSpPr>
            <p:cNvPr id="22" name="Oval 21"/>
            <p:cNvSpPr/>
            <p:nvPr/>
          </p:nvSpPr>
          <p:spPr bwMode="black">
            <a:xfrm>
              <a:off x="1056368" y="615900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 bwMode="black">
            <a:xfrm>
              <a:off x="1210979" y="846711"/>
              <a:ext cx="457200" cy="304800"/>
            </a:xfrm>
            <a:prstGeom prst="roundRect">
              <a:avLst>
                <a:gd name="adj" fmla="val 11198"/>
              </a:avLst>
            </a:prstGeom>
            <a:noFill/>
            <a:ln w="19050" cap="rnd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" name="Isosceles Triangle 31"/>
            <p:cNvSpPr/>
            <p:nvPr/>
          </p:nvSpPr>
          <p:spPr bwMode="black">
            <a:xfrm rot="5400000">
              <a:off x="1349309" y="921292"/>
              <a:ext cx="180541" cy="155638"/>
            </a:xfrm>
            <a:prstGeom prst="triangle">
              <a:avLst/>
            </a:prstGeom>
            <a:noFill/>
            <a:ln w="19050" cap="rnd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99803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le play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2"/>
          <p:cNvSpPr txBox="1">
            <a:spLocks/>
          </p:cNvSpPr>
          <p:nvPr/>
        </p:nvSpPr>
        <p:spPr>
          <a:xfrm>
            <a:off x="4400669" y="2320183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Role play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5" name="Paired discussion"/>
          <p:cNvGrpSpPr/>
          <p:nvPr userDrawn="1"/>
        </p:nvGrpSpPr>
        <p:grpSpPr>
          <a:xfrm>
            <a:off x="2667001" y="2281579"/>
            <a:ext cx="766423" cy="766422"/>
            <a:chOff x="6127254" y="2202852"/>
            <a:chExt cx="766422" cy="766422"/>
          </a:xfrm>
        </p:grpSpPr>
        <p:sp>
          <p:nvSpPr>
            <p:cNvPr id="26" name="Oval 25"/>
            <p:cNvSpPr/>
            <p:nvPr/>
          </p:nvSpPr>
          <p:spPr bwMode="black">
            <a:xfrm>
              <a:off x="6127254" y="22028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Oval Callout 26"/>
            <p:cNvSpPr/>
            <p:nvPr/>
          </p:nvSpPr>
          <p:spPr bwMode="auto">
            <a:xfrm flipV="1">
              <a:off x="6384086" y="2287737"/>
              <a:ext cx="252759" cy="216936"/>
            </a:xfrm>
            <a:prstGeom prst="wedgeEllipseCallout">
              <a:avLst>
                <a:gd name="adj1" fmla="val 3421"/>
                <a:gd name="adj2" fmla="val -73598"/>
              </a:avLst>
            </a:prstGeom>
            <a:noFill/>
            <a:ln w="22225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8" name="Group 27"/>
            <p:cNvGrpSpPr/>
            <p:nvPr/>
          </p:nvGrpSpPr>
          <p:grpSpPr bwMode="black">
            <a:xfrm>
              <a:off x="6270848" y="2545089"/>
              <a:ext cx="497735" cy="234978"/>
              <a:chOff x="1193797" y="868129"/>
              <a:chExt cx="497735" cy="234978"/>
            </a:xfrm>
          </p:grpSpPr>
          <p:sp>
            <p:nvSpPr>
              <p:cNvPr id="29" name="Freeform 28"/>
              <p:cNvSpPr/>
              <p:nvPr/>
            </p:nvSpPr>
            <p:spPr bwMode="black">
              <a:xfrm>
                <a:off x="1459101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29"/>
              <p:cNvSpPr/>
              <p:nvPr/>
            </p:nvSpPr>
            <p:spPr bwMode="black">
              <a:xfrm>
                <a:off x="1193797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0672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itle 2"/>
          <p:cNvSpPr txBox="1">
            <a:spLocks/>
          </p:cNvSpPr>
          <p:nvPr/>
        </p:nvSpPr>
        <p:spPr>
          <a:xfrm>
            <a:off x="4400669" y="2561046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Break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1" name="Break"/>
          <p:cNvGrpSpPr/>
          <p:nvPr userDrawn="1"/>
        </p:nvGrpSpPr>
        <p:grpSpPr>
          <a:xfrm>
            <a:off x="2662578" y="2281579"/>
            <a:ext cx="766423" cy="766422"/>
            <a:chOff x="609443" y="2291752"/>
            <a:chExt cx="766422" cy="766422"/>
          </a:xfrm>
        </p:grpSpPr>
        <p:sp>
          <p:nvSpPr>
            <p:cNvPr id="22" name="Oval 21"/>
            <p:cNvSpPr/>
            <p:nvPr/>
          </p:nvSpPr>
          <p:spPr bwMode="black">
            <a:xfrm>
              <a:off x="609443" y="22917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3" name="Group 22"/>
            <p:cNvGrpSpPr/>
            <p:nvPr/>
          </p:nvGrpSpPr>
          <p:grpSpPr bwMode="black">
            <a:xfrm>
              <a:off x="799742" y="2446982"/>
              <a:ext cx="423102" cy="447592"/>
              <a:chOff x="2795588" y="2217738"/>
              <a:chExt cx="795337" cy="841375"/>
            </a:xfrm>
            <a:solidFill>
              <a:srgbClr val="00549E"/>
            </a:solidFill>
          </p:grpSpPr>
          <p:sp>
            <p:nvSpPr>
              <p:cNvPr id="32" name="Freeform 7"/>
              <p:cNvSpPr>
                <a:spLocks noEditPoints="1"/>
              </p:cNvSpPr>
              <p:nvPr/>
            </p:nvSpPr>
            <p:spPr bwMode="black">
              <a:xfrm>
                <a:off x="2795588" y="2552700"/>
                <a:ext cx="795337" cy="506413"/>
              </a:xfrm>
              <a:custGeom>
                <a:avLst/>
                <a:gdLst>
                  <a:gd name="T0" fmla="*/ 2718 w 3504"/>
                  <a:gd name="T1" fmla="*/ 1291 h 2229"/>
                  <a:gd name="T2" fmla="*/ 2827 w 3504"/>
                  <a:gd name="T3" fmla="*/ 1262 h 2229"/>
                  <a:gd name="T4" fmla="*/ 2921 w 3504"/>
                  <a:gd name="T5" fmla="*/ 1215 h 2229"/>
                  <a:gd name="T6" fmla="*/ 3002 w 3504"/>
                  <a:gd name="T7" fmla="*/ 1157 h 2229"/>
                  <a:gd name="T8" fmla="*/ 3071 w 3504"/>
                  <a:gd name="T9" fmla="*/ 1088 h 2229"/>
                  <a:gd name="T10" fmla="*/ 3129 w 3504"/>
                  <a:gd name="T11" fmla="*/ 1011 h 2229"/>
                  <a:gd name="T12" fmla="*/ 3176 w 3504"/>
                  <a:gd name="T13" fmla="*/ 931 h 2229"/>
                  <a:gd name="T14" fmla="*/ 3213 w 3504"/>
                  <a:gd name="T15" fmla="*/ 849 h 2229"/>
                  <a:gd name="T16" fmla="*/ 3244 w 3504"/>
                  <a:gd name="T17" fmla="*/ 770 h 2229"/>
                  <a:gd name="T18" fmla="*/ 3266 w 3504"/>
                  <a:gd name="T19" fmla="*/ 697 h 2229"/>
                  <a:gd name="T20" fmla="*/ 3282 w 3504"/>
                  <a:gd name="T21" fmla="*/ 632 h 2229"/>
                  <a:gd name="T22" fmla="*/ 211 w 3504"/>
                  <a:gd name="T23" fmla="*/ 205 h 2229"/>
                  <a:gd name="T24" fmla="*/ 499 w 3504"/>
                  <a:gd name="T25" fmla="*/ 1901 h 2229"/>
                  <a:gd name="T26" fmla="*/ 537 w 3504"/>
                  <a:gd name="T27" fmla="*/ 1954 h 2229"/>
                  <a:gd name="T28" fmla="*/ 590 w 3504"/>
                  <a:gd name="T29" fmla="*/ 1997 h 2229"/>
                  <a:gd name="T30" fmla="*/ 653 w 3504"/>
                  <a:gd name="T31" fmla="*/ 2022 h 2229"/>
                  <a:gd name="T32" fmla="*/ 2262 w 3504"/>
                  <a:gd name="T33" fmla="*/ 2025 h 2229"/>
                  <a:gd name="T34" fmla="*/ 2324 w 3504"/>
                  <a:gd name="T35" fmla="*/ 2012 h 2229"/>
                  <a:gd name="T36" fmla="*/ 2377 w 3504"/>
                  <a:gd name="T37" fmla="*/ 1979 h 2229"/>
                  <a:gd name="T38" fmla="*/ 2418 w 3504"/>
                  <a:gd name="T39" fmla="*/ 1930 h 2229"/>
                  <a:gd name="T40" fmla="*/ 2438 w 3504"/>
                  <a:gd name="T41" fmla="*/ 1872 h 2229"/>
                  <a:gd name="T42" fmla="*/ 211 w 3504"/>
                  <a:gd name="T43" fmla="*/ 205 h 2229"/>
                  <a:gd name="T44" fmla="*/ 2685 w 3504"/>
                  <a:gd name="T45" fmla="*/ 0 h 2229"/>
                  <a:gd name="T46" fmla="*/ 2743 w 3504"/>
                  <a:gd name="T47" fmla="*/ 10 h 2229"/>
                  <a:gd name="T48" fmla="*/ 2795 w 3504"/>
                  <a:gd name="T49" fmla="*/ 39 h 2229"/>
                  <a:gd name="T50" fmla="*/ 2834 w 3504"/>
                  <a:gd name="T51" fmla="*/ 83 h 2229"/>
                  <a:gd name="T52" fmla="*/ 2855 w 3504"/>
                  <a:gd name="T53" fmla="*/ 137 h 2229"/>
                  <a:gd name="T54" fmla="*/ 2857 w 3504"/>
                  <a:gd name="T55" fmla="*/ 196 h 2229"/>
                  <a:gd name="T56" fmla="*/ 3402 w 3504"/>
                  <a:gd name="T57" fmla="*/ 427 h 2229"/>
                  <a:gd name="T58" fmla="*/ 3443 w 3504"/>
                  <a:gd name="T59" fmla="*/ 437 h 2229"/>
                  <a:gd name="T60" fmla="*/ 3477 w 3504"/>
                  <a:gd name="T61" fmla="*/ 461 h 2229"/>
                  <a:gd name="T62" fmla="*/ 3499 w 3504"/>
                  <a:gd name="T63" fmla="*/ 497 h 2229"/>
                  <a:gd name="T64" fmla="*/ 3504 w 3504"/>
                  <a:gd name="T65" fmla="*/ 539 h 2229"/>
                  <a:gd name="T66" fmla="*/ 3493 w 3504"/>
                  <a:gd name="T67" fmla="*/ 620 h 2229"/>
                  <a:gd name="T68" fmla="*/ 3475 w 3504"/>
                  <a:gd name="T69" fmla="*/ 709 h 2229"/>
                  <a:gd name="T70" fmla="*/ 3448 w 3504"/>
                  <a:gd name="T71" fmla="*/ 804 h 2229"/>
                  <a:gd name="T72" fmla="*/ 3413 w 3504"/>
                  <a:gd name="T73" fmla="*/ 902 h 2229"/>
                  <a:gd name="T74" fmla="*/ 3369 w 3504"/>
                  <a:gd name="T75" fmla="*/ 999 h 2229"/>
                  <a:gd name="T76" fmla="*/ 3316 w 3504"/>
                  <a:gd name="T77" fmla="*/ 1096 h 2229"/>
                  <a:gd name="T78" fmla="*/ 3252 w 3504"/>
                  <a:gd name="T79" fmla="*/ 1186 h 2229"/>
                  <a:gd name="T80" fmla="*/ 3176 w 3504"/>
                  <a:gd name="T81" fmla="*/ 1271 h 2229"/>
                  <a:gd name="T82" fmla="*/ 3090 w 3504"/>
                  <a:gd name="T83" fmla="*/ 1346 h 2229"/>
                  <a:gd name="T84" fmla="*/ 2993 w 3504"/>
                  <a:gd name="T85" fmla="*/ 1409 h 2229"/>
                  <a:gd name="T86" fmla="*/ 2881 w 3504"/>
                  <a:gd name="T87" fmla="*/ 1458 h 2229"/>
                  <a:gd name="T88" fmla="*/ 2758 w 3504"/>
                  <a:gd name="T89" fmla="*/ 1490 h 2229"/>
                  <a:gd name="T90" fmla="*/ 2640 w 3504"/>
                  <a:gd name="T91" fmla="*/ 1897 h 2229"/>
                  <a:gd name="T92" fmla="*/ 2614 w 3504"/>
                  <a:gd name="T93" fmla="*/ 1994 h 2229"/>
                  <a:gd name="T94" fmla="*/ 2564 w 3504"/>
                  <a:gd name="T95" fmla="*/ 2078 h 2229"/>
                  <a:gd name="T96" fmla="*/ 2495 w 3504"/>
                  <a:gd name="T97" fmla="*/ 2148 h 2229"/>
                  <a:gd name="T98" fmla="*/ 2410 w 3504"/>
                  <a:gd name="T99" fmla="*/ 2199 h 2229"/>
                  <a:gd name="T100" fmla="*/ 2313 w 3504"/>
                  <a:gd name="T101" fmla="*/ 2226 h 2229"/>
                  <a:gd name="T102" fmla="*/ 685 w 3504"/>
                  <a:gd name="T103" fmla="*/ 2229 h 2229"/>
                  <a:gd name="T104" fmla="*/ 588 w 3504"/>
                  <a:gd name="T105" fmla="*/ 2215 h 2229"/>
                  <a:gd name="T106" fmla="*/ 495 w 3504"/>
                  <a:gd name="T107" fmla="*/ 2178 h 2229"/>
                  <a:gd name="T108" fmla="*/ 415 w 3504"/>
                  <a:gd name="T109" fmla="*/ 2120 h 2229"/>
                  <a:gd name="T110" fmla="*/ 348 w 3504"/>
                  <a:gd name="T111" fmla="*/ 2045 h 2229"/>
                  <a:gd name="T112" fmla="*/ 303 w 3504"/>
                  <a:gd name="T113" fmla="*/ 1957 h 2229"/>
                  <a:gd name="T114" fmla="*/ 3 w 3504"/>
                  <a:gd name="T115" fmla="*/ 199 h 2229"/>
                  <a:gd name="T116" fmla="*/ 1 w 3504"/>
                  <a:gd name="T117" fmla="*/ 142 h 2229"/>
                  <a:gd name="T118" fmla="*/ 20 w 3504"/>
                  <a:gd name="T119" fmla="*/ 86 h 2229"/>
                  <a:gd name="T120" fmla="*/ 57 w 3504"/>
                  <a:gd name="T121" fmla="*/ 40 h 2229"/>
                  <a:gd name="T122" fmla="*/ 108 w 3504"/>
                  <a:gd name="T123" fmla="*/ 11 h 2229"/>
                  <a:gd name="T124" fmla="*/ 168 w 3504"/>
                  <a:gd name="T125" fmla="*/ 0 h 2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504" h="2229">
                    <a:moveTo>
                      <a:pt x="2801" y="632"/>
                    </a:moveTo>
                    <a:lnTo>
                      <a:pt x="2718" y="1291"/>
                    </a:lnTo>
                    <a:lnTo>
                      <a:pt x="2773" y="1278"/>
                    </a:lnTo>
                    <a:lnTo>
                      <a:pt x="2827" y="1262"/>
                    </a:lnTo>
                    <a:lnTo>
                      <a:pt x="2876" y="1241"/>
                    </a:lnTo>
                    <a:lnTo>
                      <a:pt x="2921" y="1215"/>
                    </a:lnTo>
                    <a:lnTo>
                      <a:pt x="2963" y="1187"/>
                    </a:lnTo>
                    <a:lnTo>
                      <a:pt x="3002" y="1157"/>
                    </a:lnTo>
                    <a:lnTo>
                      <a:pt x="3038" y="1124"/>
                    </a:lnTo>
                    <a:lnTo>
                      <a:pt x="3071" y="1088"/>
                    </a:lnTo>
                    <a:lnTo>
                      <a:pt x="3101" y="1050"/>
                    </a:lnTo>
                    <a:lnTo>
                      <a:pt x="3129" y="1011"/>
                    </a:lnTo>
                    <a:lnTo>
                      <a:pt x="3153" y="972"/>
                    </a:lnTo>
                    <a:lnTo>
                      <a:pt x="3176" y="931"/>
                    </a:lnTo>
                    <a:lnTo>
                      <a:pt x="3196" y="889"/>
                    </a:lnTo>
                    <a:lnTo>
                      <a:pt x="3213" y="849"/>
                    </a:lnTo>
                    <a:lnTo>
                      <a:pt x="3230" y="809"/>
                    </a:lnTo>
                    <a:lnTo>
                      <a:pt x="3244" y="770"/>
                    </a:lnTo>
                    <a:lnTo>
                      <a:pt x="3255" y="733"/>
                    </a:lnTo>
                    <a:lnTo>
                      <a:pt x="3266" y="697"/>
                    </a:lnTo>
                    <a:lnTo>
                      <a:pt x="3274" y="663"/>
                    </a:lnTo>
                    <a:lnTo>
                      <a:pt x="3282" y="632"/>
                    </a:lnTo>
                    <a:lnTo>
                      <a:pt x="2801" y="632"/>
                    </a:lnTo>
                    <a:close/>
                    <a:moveTo>
                      <a:pt x="211" y="205"/>
                    </a:moveTo>
                    <a:lnTo>
                      <a:pt x="490" y="1871"/>
                    </a:lnTo>
                    <a:lnTo>
                      <a:pt x="499" y="1901"/>
                    </a:lnTo>
                    <a:lnTo>
                      <a:pt x="516" y="1929"/>
                    </a:lnTo>
                    <a:lnTo>
                      <a:pt x="537" y="1954"/>
                    </a:lnTo>
                    <a:lnTo>
                      <a:pt x="562" y="1978"/>
                    </a:lnTo>
                    <a:lnTo>
                      <a:pt x="590" y="1997"/>
                    </a:lnTo>
                    <a:lnTo>
                      <a:pt x="621" y="2012"/>
                    </a:lnTo>
                    <a:lnTo>
                      <a:pt x="653" y="2022"/>
                    </a:lnTo>
                    <a:lnTo>
                      <a:pt x="685" y="2025"/>
                    </a:lnTo>
                    <a:lnTo>
                      <a:pt x="2262" y="2025"/>
                    </a:lnTo>
                    <a:lnTo>
                      <a:pt x="2294" y="2022"/>
                    </a:lnTo>
                    <a:lnTo>
                      <a:pt x="2324" y="2012"/>
                    </a:lnTo>
                    <a:lnTo>
                      <a:pt x="2352" y="1998"/>
                    </a:lnTo>
                    <a:lnTo>
                      <a:pt x="2377" y="1979"/>
                    </a:lnTo>
                    <a:lnTo>
                      <a:pt x="2399" y="1957"/>
                    </a:lnTo>
                    <a:lnTo>
                      <a:pt x="2418" y="1930"/>
                    </a:lnTo>
                    <a:lnTo>
                      <a:pt x="2431" y="1902"/>
                    </a:lnTo>
                    <a:lnTo>
                      <a:pt x="2438" y="1872"/>
                    </a:lnTo>
                    <a:lnTo>
                      <a:pt x="2650" y="205"/>
                    </a:lnTo>
                    <a:lnTo>
                      <a:pt x="211" y="205"/>
                    </a:lnTo>
                    <a:close/>
                    <a:moveTo>
                      <a:pt x="168" y="0"/>
                    </a:moveTo>
                    <a:lnTo>
                      <a:pt x="2685" y="0"/>
                    </a:lnTo>
                    <a:lnTo>
                      <a:pt x="2715" y="3"/>
                    </a:lnTo>
                    <a:lnTo>
                      <a:pt x="2743" y="10"/>
                    </a:lnTo>
                    <a:lnTo>
                      <a:pt x="2771" y="22"/>
                    </a:lnTo>
                    <a:lnTo>
                      <a:pt x="2795" y="39"/>
                    </a:lnTo>
                    <a:lnTo>
                      <a:pt x="2816" y="58"/>
                    </a:lnTo>
                    <a:lnTo>
                      <a:pt x="2834" y="83"/>
                    </a:lnTo>
                    <a:lnTo>
                      <a:pt x="2847" y="108"/>
                    </a:lnTo>
                    <a:lnTo>
                      <a:pt x="2855" y="137"/>
                    </a:lnTo>
                    <a:lnTo>
                      <a:pt x="2858" y="166"/>
                    </a:lnTo>
                    <a:lnTo>
                      <a:pt x="2857" y="196"/>
                    </a:lnTo>
                    <a:lnTo>
                      <a:pt x="2828" y="427"/>
                    </a:lnTo>
                    <a:lnTo>
                      <a:pt x="3402" y="427"/>
                    </a:lnTo>
                    <a:lnTo>
                      <a:pt x="3424" y="430"/>
                    </a:lnTo>
                    <a:lnTo>
                      <a:pt x="3443" y="437"/>
                    </a:lnTo>
                    <a:lnTo>
                      <a:pt x="3462" y="447"/>
                    </a:lnTo>
                    <a:lnTo>
                      <a:pt x="3477" y="461"/>
                    </a:lnTo>
                    <a:lnTo>
                      <a:pt x="3490" y="478"/>
                    </a:lnTo>
                    <a:lnTo>
                      <a:pt x="3499" y="497"/>
                    </a:lnTo>
                    <a:lnTo>
                      <a:pt x="3504" y="518"/>
                    </a:lnTo>
                    <a:lnTo>
                      <a:pt x="3504" y="539"/>
                    </a:lnTo>
                    <a:lnTo>
                      <a:pt x="3499" y="578"/>
                    </a:lnTo>
                    <a:lnTo>
                      <a:pt x="3493" y="620"/>
                    </a:lnTo>
                    <a:lnTo>
                      <a:pt x="3485" y="664"/>
                    </a:lnTo>
                    <a:lnTo>
                      <a:pt x="3475" y="709"/>
                    </a:lnTo>
                    <a:lnTo>
                      <a:pt x="3462" y="757"/>
                    </a:lnTo>
                    <a:lnTo>
                      <a:pt x="3448" y="804"/>
                    </a:lnTo>
                    <a:lnTo>
                      <a:pt x="3432" y="853"/>
                    </a:lnTo>
                    <a:lnTo>
                      <a:pt x="3413" y="902"/>
                    </a:lnTo>
                    <a:lnTo>
                      <a:pt x="3392" y="951"/>
                    </a:lnTo>
                    <a:lnTo>
                      <a:pt x="3369" y="999"/>
                    </a:lnTo>
                    <a:lnTo>
                      <a:pt x="3344" y="1048"/>
                    </a:lnTo>
                    <a:lnTo>
                      <a:pt x="3316" y="1096"/>
                    </a:lnTo>
                    <a:lnTo>
                      <a:pt x="3284" y="1142"/>
                    </a:lnTo>
                    <a:lnTo>
                      <a:pt x="3252" y="1186"/>
                    </a:lnTo>
                    <a:lnTo>
                      <a:pt x="3216" y="1230"/>
                    </a:lnTo>
                    <a:lnTo>
                      <a:pt x="3176" y="1271"/>
                    </a:lnTo>
                    <a:lnTo>
                      <a:pt x="3135" y="1310"/>
                    </a:lnTo>
                    <a:lnTo>
                      <a:pt x="3090" y="1346"/>
                    </a:lnTo>
                    <a:lnTo>
                      <a:pt x="3043" y="1379"/>
                    </a:lnTo>
                    <a:lnTo>
                      <a:pt x="2993" y="1409"/>
                    </a:lnTo>
                    <a:lnTo>
                      <a:pt x="2938" y="1436"/>
                    </a:lnTo>
                    <a:lnTo>
                      <a:pt x="2881" y="1458"/>
                    </a:lnTo>
                    <a:lnTo>
                      <a:pt x="2821" y="1476"/>
                    </a:lnTo>
                    <a:lnTo>
                      <a:pt x="2758" y="1490"/>
                    </a:lnTo>
                    <a:lnTo>
                      <a:pt x="2691" y="1498"/>
                    </a:lnTo>
                    <a:lnTo>
                      <a:pt x="2640" y="1897"/>
                    </a:lnTo>
                    <a:lnTo>
                      <a:pt x="2630" y="1946"/>
                    </a:lnTo>
                    <a:lnTo>
                      <a:pt x="2614" y="1994"/>
                    </a:lnTo>
                    <a:lnTo>
                      <a:pt x="2591" y="2038"/>
                    </a:lnTo>
                    <a:lnTo>
                      <a:pt x="2564" y="2078"/>
                    </a:lnTo>
                    <a:lnTo>
                      <a:pt x="2531" y="2116"/>
                    </a:lnTo>
                    <a:lnTo>
                      <a:pt x="2495" y="2148"/>
                    </a:lnTo>
                    <a:lnTo>
                      <a:pt x="2453" y="2176"/>
                    </a:lnTo>
                    <a:lnTo>
                      <a:pt x="2410" y="2199"/>
                    </a:lnTo>
                    <a:lnTo>
                      <a:pt x="2362" y="2215"/>
                    </a:lnTo>
                    <a:lnTo>
                      <a:pt x="2313" y="2226"/>
                    </a:lnTo>
                    <a:lnTo>
                      <a:pt x="2262" y="2229"/>
                    </a:lnTo>
                    <a:lnTo>
                      <a:pt x="685" y="2229"/>
                    </a:lnTo>
                    <a:lnTo>
                      <a:pt x="636" y="2226"/>
                    </a:lnTo>
                    <a:lnTo>
                      <a:pt x="588" y="2215"/>
                    </a:lnTo>
                    <a:lnTo>
                      <a:pt x="540" y="2200"/>
                    </a:lnTo>
                    <a:lnTo>
                      <a:pt x="495" y="2178"/>
                    </a:lnTo>
                    <a:lnTo>
                      <a:pt x="453" y="2152"/>
                    </a:lnTo>
                    <a:lnTo>
                      <a:pt x="415" y="2120"/>
                    </a:lnTo>
                    <a:lnTo>
                      <a:pt x="380" y="2084"/>
                    </a:lnTo>
                    <a:lnTo>
                      <a:pt x="348" y="2045"/>
                    </a:lnTo>
                    <a:lnTo>
                      <a:pt x="323" y="2003"/>
                    </a:lnTo>
                    <a:lnTo>
                      <a:pt x="303" y="1957"/>
                    </a:lnTo>
                    <a:lnTo>
                      <a:pt x="289" y="1909"/>
                    </a:lnTo>
                    <a:lnTo>
                      <a:pt x="3" y="199"/>
                    </a:lnTo>
                    <a:lnTo>
                      <a:pt x="0" y="170"/>
                    </a:lnTo>
                    <a:lnTo>
                      <a:pt x="1" y="142"/>
                    </a:lnTo>
                    <a:lnTo>
                      <a:pt x="8" y="113"/>
                    </a:lnTo>
                    <a:lnTo>
                      <a:pt x="20" y="86"/>
                    </a:lnTo>
                    <a:lnTo>
                      <a:pt x="37" y="61"/>
                    </a:lnTo>
                    <a:lnTo>
                      <a:pt x="57" y="40"/>
                    </a:lnTo>
                    <a:lnTo>
                      <a:pt x="81" y="22"/>
                    </a:lnTo>
                    <a:lnTo>
                      <a:pt x="108" y="11"/>
                    </a:lnTo>
                    <a:lnTo>
                      <a:pt x="138" y="3"/>
                    </a:lnTo>
                    <a:lnTo>
                      <a:pt x="1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8"/>
              <p:cNvSpPr>
                <a:spLocks/>
              </p:cNvSpPr>
              <p:nvPr/>
            </p:nvSpPr>
            <p:spPr bwMode="black">
              <a:xfrm>
                <a:off x="3154363" y="2217738"/>
                <a:ext cx="92075" cy="295275"/>
              </a:xfrm>
              <a:custGeom>
                <a:avLst/>
                <a:gdLst>
                  <a:gd name="T0" fmla="*/ 192 w 408"/>
                  <a:gd name="T1" fmla="*/ 3 h 1305"/>
                  <a:gd name="T2" fmla="*/ 233 w 408"/>
                  <a:gd name="T3" fmla="*/ 24 h 1305"/>
                  <a:gd name="T4" fmla="*/ 249 w 408"/>
                  <a:gd name="T5" fmla="*/ 39 h 1305"/>
                  <a:gd name="T6" fmla="*/ 279 w 408"/>
                  <a:gd name="T7" fmla="*/ 68 h 1305"/>
                  <a:gd name="T8" fmla="*/ 315 w 408"/>
                  <a:gd name="T9" fmla="*/ 111 h 1305"/>
                  <a:gd name="T10" fmla="*/ 352 w 408"/>
                  <a:gd name="T11" fmla="*/ 164 h 1305"/>
                  <a:gd name="T12" fmla="*/ 384 w 408"/>
                  <a:gd name="T13" fmla="*/ 228 h 1305"/>
                  <a:gd name="T14" fmla="*/ 403 w 408"/>
                  <a:gd name="T15" fmla="*/ 300 h 1305"/>
                  <a:gd name="T16" fmla="*/ 407 w 408"/>
                  <a:gd name="T17" fmla="*/ 363 h 1305"/>
                  <a:gd name="T18" fmla="*/ 399 w 408"/>
                  <a:gd name="T19" fmla="*/ 416 h 1305"/>
                  <a:gd name="T20" fmla="*/ 377 w 408"/>
                  <a:gd name="T21" fmla="*/ 476 h 1305"/>
                  <a:gd name="T22" fmla="*/ 335 w 408"/>
                  <a:gd name="T23" fmla="*/ 539 h 1305"/>
                  <a:gd name="T24" fmla="*/ 284 w 408"/>
                  <a:gd name="T25" fmla="*/ 595 h 1305"/>
                  <a:gd name="T26" fmla="*/ 247 w 408"/>
                  <a:gd name="T27" fmla="*/ 661 h 1305"/>
                  <a:gd name="T28" fmla="*/ 220 w 408"/>
                  <a:gd name="T29" fmla="*/ 744 h 1305"/>
                  <a:gd name="T30" fmla="*/ 206 w 408"/>
                  <a:gd name="T31" fmla="*/ 839 h 1305"/>
                  <a:gd name="T32" fmla="*/ 205 w 408"/>
                  <a:gd name="T33" fmla="*/ 939 h 1305"/>
                  <a:gd name="T34" fmla="*/ 214 w 408"/>
                  <a:gd name="T35" fmla="*/ 1011 h 1305"/>
                  <a:gd name="T36" fmla="*/ 229 w 408"/>
                  <a:gd name="T37" fmla="*/ 1062 h 1305"/>
                  <a:gd name="T38" fmla="*/ 244 w 408"/>
                  <a:gd name="T39" fmla="*/ 1093 h 1305"/>
                  <a:gd name="T40" fmla="*/ 276 w 408"/>
                  <a:gd name="T41" fmla="*/ 1109 h 1305"/>
                  <a:gd name="T42" fmla="*/ 315 w 408"/>
                  <a:gd name="T43" fmla="*/ 1139 h 1305"/>
                  <a:gd name="T44" fmla="*/ 337 w 408"/>
                  <a:gd name="T45" fmla="*/ 1184 h 1305"/>
                  <a:gd name="T46" fmla="*/ 334 w 408"/>
                  <a:gd name="T47" fmla="*/ 1235 h 1305"/>
                  <a:gd name="T48" fmla="*/ 306 w 408"/>
                  <a:gd name="T49" fmla="*/ 1278 h 1305"/>
                  <a:gd name="T50" fmla="*/ 263 w 408"/>
                  <a:gd name="T51" fmla="*/ 1301 h 1305"/>
                  <a:gd name="T52" fmla="*/ 229 w 408"/>
                  <a:gd name="T53" fmla="*/ 1305 h 1305"/>
                  <a:gd name="T54" fmla="*/ 199 w 408"/>
                  <a:gd name="T55" fmla="*/ 1300 h 1305"/>
                  <a:gd name="T56" fmla="*/ 162 w 408"/>
                  <a:gd name="T57" fmla="*/ 1287 h 1305"/>
                  <a:gd name="T58" fmla="*/ 124 w 408"/>
                  <a:gd name="T59" fmla="*/ 1263 h 1305"/>
                  <a:gd name="T60" fmla="*/ 85 w 408"/>
                  <a:gd name="T61" fmla="*/ 1222 h 1305"/>
                  <a:gd name="T62" fmla="*/ 50 w 408"/>
                  <a:gd name="T63" fmla="*/ 1164 h 1305"/>
                  <a:gd name="T64" fmla="*/ 24 w 408"/>
                  <a:gd name="T65" fmla="*/ 1091 h 1305"/>
                  <a:gd name="T66" fmla="*/ 7 w 408"/>
                  <a:gd name="T67" fmla="*/ 1009 h 1305"/>
                  <a:gd name="T68" fmla="*/ 0 w 408"/>
                  <a:gd name="T69" fmla="*/ 916 h 1305"/>
                  <a:gd name="T70" fmla="*/ 4 w 408"/>
                  <a:gd name="T71" fmla="*/ 819 h 1305"/>
                  <a:gd name="T72" fmla="*/ 18 w 408"/>
                  <a:gd name="T73" fmla="*/ 719 h 1305"/>
                  <a:gd name="T74" fmla="*/ 43 w 408"/>
                  <a:gd name="T75" fmla="*/ 622 h 1305"/>
                  <a:gd name="T76" fmla="*/ 82 w 408"/>
                  <a:gd name="T77" fmla="*/ 533 h 1305"/>
                  <a:gd name="T78" fmla="*/ 134 w 408"/>
                  <a:gd name="T79" fmla="*/ 454 h 1305"/>
                  <a:gd name="T80" fmla="*/ 180 w 408"/>
                  <a:gd name="T81" fmla="*/ 405 h 1305"/>
                  <a:gd name="T82" fmla="*/ 198 w 408"/>
                  <a:gd name="T83" fmla="*/ 376 h 1305"/>
                  <a:gd name="T84" fmla="*/ 204 w 408"/>
                  <a:gd name="T85" fmla="*/ 354 h 1305"/>
                  <a:gd name="T86" fmla="*/ 200 w 408"/>
                  <a:gd name="T87" fmla="*/ 323 h 1305"/>
                  <a:gd name="T88" fmla="*/ 182 w 408"/>
                  <a:gd name="T89" fmla="*/ 278 h 1305"/>
                  <a:gd name="T90" fmla="*/ 155 w 408"/>
                  <a:gd name="T91" fmla="*/ 236 h 1305"/>
                  <a:gd name="T92" fmla="*/ 125 w 408"/>
                  <a:gd name="T93" fmla="*/ 202 h 1305"/>
                  <a:gd name="T94" fmla="*/ 103 w 408"/>
                  <a:gd name="T95" fmla="*/ 180 h 1305"/>
                  <a:gd name="T96" fmla="*/ 75 w 408"/>
                  <a:gd name="T97" fmla="*/ 144 h 1305"/>
                  <a:gd name="T98" fmla="*/ 65 w 408"/>
                  <a:gd name="T99" fmla="*/ 100 h 1305"/>
                  <a:gd name="T100" fmla="*/ 77 w 408"/>
                  <a:gd name="T101" fmla="*/ 57 h 1305"/>
                  <a:gd name="T102" fmla="*/ 106 w 408"/>
                  <a:gd name="T103" fmla="*/ 21 h 1305"/>
                  <a:gd name="T104" fmla="*/ 147 w 408"/>
                  <a:gd name="T105" fmla="*/ 3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8" h="1305">
                    <a:moveTo>
                      <a:pt x="170" y="0"/>
                    </a:moveTo>
                    <a:lnTo>
                      <a:pt x="192" y="3"/>
                    </a:lnTo>
                    <a:lnTo>
                      <a:pt x="213" y="11"/>
                    </a:lnTo>
                    <a:lnTo>
                      <a:pt x="233" y="24"/>
                    </a:lnTo>
                    <a:lnTo>
                      <a:pt x="239" y="29"/>
                    </a:lnTo>
                    <a:lnTo>
                      <a:pt x="249" y="39"/>
                    </a:lnTo>
                    <a:lnTo>
                      <a:pt x="263" y="52"/>
                    </a:lnTo>
                    <a:lnTo>
                      <a:pt x="279" y="68"/>
                    </a:lnTo>
                    <a:lnTo>
                      <a:pt x="297" y="88"/>
                    </a:lnTo>
                    <a:lnTo>
                      <a:pt x="315" y="111"/>
                    </a:lnTo>
                    <a:lnTo>
                      <a:pt x="334" y="136"/>
                    </a:lnTo>
                    <a:lnTo>
                      <a:pt x="352" y="164"/>
                    </a:lnTo>
                    <a:lnTo>
                      <a:pt x="369" y="195"/>
                    </a:lnTo>
                    <a:lnTo>
                      <a:pt x="384" y="228"/>
                    </a:lnTo>
                    <a:lnTo>
                      <a:pt x="395" y="263"/>
                    </a:lnTo>
                    <a:lnTo>
                      <a:pt x="403" y="300"/>
                    </a:lnTo>
                    <a:lnTo>
                      <a:pt x="408" y="338"/>
                    </a:lnTo>
                    <a:lnTo>
                      <a:pt x="407" y="363"/>
                    </a:lnTo>
                    <a:lnTo>
                      <a:pt x="405" y="388"/>
                    </a:lnTo>
                    <a:lnTo>
                      <a:pt x="399" y="416"/>
                    </a:lnTo>
                    <a:lnTo>
                      <a:pt x="391" y="445"/>
                    </a:lnTo>
                    <a:lnTo>
                      <a:pt x="377" y="476"/>
                    </a:lnTo>
                    <a:lnTo>
                      <a:pt x="359" y="508"/>
                    </a:lnTo>
                    <a:lnTo>
                      <a:pt x="335" y="539"/>
                    </a:lnTo>
                    <a:lnTo>
                      <a:pt x="306" y="570"/>
                    </a:lnTo>
                    <a:lnTo>
                      <a:pt x="284" y="595"/>
                    </a:lnTo>
                    <a:lnTo>
                      <a:pt x="264" y="625"/>
                    </a:lnTo>
                    <a:lnTo>
                      <a:pt x="247" y="661"/>
                    </a:lnTo>
                    <a:lnTo>
                      <a:pt x="232" y="701"/>
                    </a:lnTo>
                    <a:lnTo>
                      <a:pt x="220" y="744"/>
                    </a:lnTo>
                    <a:lnTo>
                      <a:pt x="212" y="791"/>
                    </a:lnTo>
                    <a:lnTo>
                      <a:pt x="206" y="839"/>
                    </a:lnTo>
                    <a:lnTo>
                      <a:pt x="204" y="889"/>
                    </a:lnTo>
                    <a:lnTo>
                      <a:pt x="205" y="939"/>
                    </a:lnTo>
                    <a:lnTo>
                      <a:pt x="208" y="977"/>
                    </a:lnTo>
                    <a:lnTo>
                      <a:pt x="214" y="1011"/>
                    </a:lnTo>
                    <a:lnTo>
                      <a:pt x="221" y="1039"/>
                    </a:lnTo>
                    <a:lnTo>
                      <a:pt x="229" y="1062"/>
                    </a:lnTo>
                    <a:lnTo>
                      <a:pt x="236" y="1081"/>
                    </a:lnTo>
                    <a:lnTo>
                      <a:pt x="244" y="1093"/>
                    </a:lnTo>
                    <a:lnTo>
                      <a:pt x="250" y="1102"/>
                    </a:lnTo>
                    <a:lnTo>
                      <a:pt x="276" y="1109"/>
                    </a:lnTo>
                    <a:lnTo>
                      <a:pt x="298" y="1121"/>
                    </a:lnTo>
                    <a:lnTo>
                      <a:pt x="315" y="1139"/>
                    </a:lnTo>
                    <a:lnTo>
                      <a:pt x="329" y="1160"/>
                    </a:lnTo>
                    <a:lnTo>
                      <a:pt x="337" y="1184"/>
                    </a:lnTo>
                    <a:lnTo>
                      <a:pt x="338" y="1210"/>
                    </a:lnTo>
                    <a:lnTo>
                      <a:pt x="334" y="1235"/>
                    </a:lnTo>
                    <a:lnTo>
                      <a:pt x="322" y="1258"/>
                    </a:lnTo>
                    <a:lnTo>
                      <a:pt x="306" y="1278"/>
                    </a:lnTo>
                    <a:lnTo>
                      <a:pt x="286" y="1292"/>
                    </a:lnTo>
                    <a:lnTo>
                      <a:pt x="263" y="1301"/>
                    </a:lnTo>
                    <a:lnTo>
                      <a:pt x="236" y="1305"/>
                    </a:lnTo>
                    <a:lnTo>
                      <a:pt x="229" y="1305"/>
                    </a:lnTo>
                    <a:lnTo>
                      <a:pt x="215" y="1304"/>
                    </a:lnTo>
                    <a:lnTo>
                      <a:pt x="199" y="1300"/>
                    </a:lnTo>
                    <a:lnTo>
                      <a:pt x="180" y="1295"/>
                    </a:lnTo>
                    <a:lnTo>
                      <a:pt x="162" y="1287"/>
                    </a:lnTo>
                    <a:lnTo>
                      <a:pt x="143" y="1277"/>
                    </a:lnTo>
                    <a:lnTo>
                      <a:pt x="124" y="1263"/>
                    </a:lnTo>
                    <a:lnTo>
                      <a:pt x="104" y="1244"/>
                    </a:lnTo>
                    <a:lnTo>
                      <a:pt x="85" y="1222"/>
                    </a:lnTo>
                    <a:lnTo>
                      <a:pt x="67" y="1197"/>
                    </a:lnTo>
                    <a:lnTo>
                      <a:pt x="50" y="1164"/>
                    </a:lnTo>
                    <a:lnTo>
                      <a:pt x="35" y="1127"/>
                    </a:lnTo>
                    <a:lnTo>
                      <a:pt x="24" y="1091"/>
                    </a:lnTo>
                    <a:lnTo>
                      <a:pt x="14" y="1052"/>
                    </a:lnTo>
                    <a:lnTo>
                      <a:pt x="7" y="1009"/>
                    </a:lnTo>
                    <a:lnTo>
                      <a:pt x="3" y="964"/>
                    </a:lnTo>
                    <a:lnTo>
                      <a:pt x="0" y="916"/>
                    </a:lnTo>
                    <a:lnTo>
                      <a:pt x="0" y="867"/>
                    </a:lnTo>
                    <a:lnTo>
                      <a:pt x="4" y="819"/>
                    </a:lnTo>
                    <a:lnTo>
                      <a:pt x="9" y="769"/>
                    </a:lnTo>
                    <a:lnTo>
                      <a:pt x="18" y="719"/>
                    </a:lnTo>
                    <a:lnTo>
                      <a:pt x="28" y="670"/>
                    </a:lnTo>
                    <a:lnTo>
                      <a:pt x="43" y="622"/>
                    </a:lnTo>
                    <a:lnTo>
                      <a:pt x="61" y="576"/>
                    </a:lnTo>
                    <a:lnTo>
                      <a:pt x="82" y="533"/>
                    </a:lnTo>
                    <a:lnTo>
                      <a:pt x="106" y="492"/>
                    </a:lnTo>
                    <a:lnTo>
                      <a:pt x="134" y="454"/>
                    </a:lnTo>
                    <a:lnTo>
                      <a:pt x="165" y="422"/>
                    </a:lnTo>
                    <a:lnTo>
                      <a:pt x="180" y="405"/>
                    </a:lnTo>
                    <a:lnTo>
                      <a:pt x="191" y="390"/>
                    </a:lnTo>
                    <a:lnTo>
                      <a:pt x="198" y="376"/>
                    </a:lnTo>
                    <a:lnTo>
                      <a:pt x="201" y="365"/>
                    </a:lnTo>
                    <a:lnTo>
                      <a:pt x="204" y="354"/>
                    </a:lnTo>
                    <a:lnTo>
                      <a:pt x="204" y="345"/>
                    </a:lnTo>
                    <a:lnTo>
                      <a:pt x="200" y="323"/>
                    </a:lnTo>
                    <a:lnTo>
                      <a:pt x="193" y="300"/>
                    </a:lnTo>
                    <a:lnTo>
                      <a:pt x="182" y="278"/>
                    </a:lnTo>
                    <a:lnTo>
                      <a:pt x="169" y="257"/>
                    </a:lnTo>
                    <a:lnTo>
                      <a:pt x="155" y="236"/>
                    </a:lnTo>
                    <a:lnTo>
                      <a:pt x="140" y="219"/>
                    </a:lnTo>
                    <a:lnTo>
                      <a:pt x="125" y="202"/>
                    </a:lnTo>
                    <a:lnTo>
                      <a:pt x="112" y="190"/>
                    </a:lnTo>
                    <a:lnTo>
                      <a:pt x="103" y="180"/>
                    </a:lnTo>
                    <a:lnTo>
                      <a:pt x="86" y="164"/>
                    </a:lnTo>
                    <a:lnTo>
                      <a:pt x="75" y="144"/>
                    </a:lnTo>
                    <a:lnTo>
                      <a:pt x="68" y="122"/>
                    </a:lnTo>
                    <a:lnTo>
                      <a:pt x="65" y="100"/>
                    </a:lnTo>
                    <a:lnTo>
                      <a:pt x="69" y="78"/>
                    </a:lnTo>
                    <a:lnTo>
                      <a:pt x="77" y="57"/>
                    </a:lnTo>
                    <a:lnTo>
                      <a:pt x="90" y="38"/>
                    </a:lnTo>
                    <a:lnTo>
                      <a:pt x="106" y="21"/>
                    </a:lnTo>
                    <a:lnTo>
                      <a:pt x="126" y="10"/>
                    </a:lnTo>
                    <a:lnTo>
                      <a:pt x="147" y="3"/>
                    </a:lnTo>
                    <a:lnTo>
                      <a:pt x="1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9"/>
              <p:cNvSpPr>
                <a:spLocks/>
              </p:cNvSpPr>
              <p:nvPr/>
            </p:nvSpPr>
            <p:spPr bwMode="black">
              <a:xfrm>
                <a:off x="2986088" y="2217738"/>
                <a:ext cx="93662" cy="295275"/>
              </a:xfrm>
              <a:custGeom>
                <a:avLst/>
                <a:gdLst>
                  <a:gd name="T0" fmla="*/ 191 w 407"/>
                  <a:gd name="T1" fmla="*/ 3 h 1305"/>
                  <a:gd name="T2" fmla="*/ 232 w 407"/>
                  <a:gd name="T3" fmla="*/ 24 h 1305"/>
                  <a:gd name="T4" fmla="*/ 249 w 407"/>
                  <a:gd name="T5" fmla="*/ 39 h 1305"/>
                  <a:gd name="T6" fmla="*/ 278 w 407"/>
                  <a:gd name="T7" fmla="*/ 68 h 1305"/>
                  <a:gd name="T8" fmla="*/ 314 w 407"/>
                  <a:gd name="T9" fmla="*/ 111 h 1305"/>
                  <a:gd name="T10" fmla="*/ 351 w 407"/>
                  <a:gd name="T11" fmla="*/ 164 h 1305"/>
                  <a:gd name="T12" fmla="*/ 383 w 407"/>
                  <a:gd name="T13" fmla="*/ 228 h 1305"/>
                  <a:gd name="T14" fmla="*/ 403 w 407"/>
                  <a:gd name="T15" fmla="*/ 300 h 1305"/>
                  <a:gd name="T16" fmla="*/ 407 w 407"/>
                  <a:gd name="T17" fmla="*/ 363 h 1305"/>
                  <a:gd name="T18" fmla="*/ 398 w 407"/>
                  <a:gd name="T19" fmla="*/ 416 h 1305"/>
                  <a:gd name="T20" fmla="*/ 376 w 407"/>
                  <a:gd name="T21" fmla="*/ 476 h 1305"/>
                  <a:gd name="T22" fmla="*/ 335 w 407"/>
                  <a:gd name="T23" fmla="*/ 539 h 1305"/>
                  <a:gd name="T24" fmla="*/ 282 w 407"/>
                  <a:gd name="T25" fmla="*/ 595 h 1305"/>
                  <a:gd name="T26" fmla="*/ 246 w 407"/>
                  <a:gd name="T27" fmla="*/ 661 h 1305"/>
                  <a:gd name="T28" fmla="*/ 220 w 407"/>
                  <a:gd name="T29" fmla="*/ 744 h 1305"/>
                  <a:gd name="T30" fmla="*/ 205 w 407"/>
                  <a:gd name="T31" fmla="*/ 839 h 1305"/>
                  <a:gd name="T32" fmla="*/ 205 w 407"/>
                  <a:gd name="T33" fmla="*/ 939 h 1305"/>
                  <a:gd name="T34" fmla="*/ 214 w 407"/>
                  <a:gd name="T35" fmla="*/ 1011 h 1305"/>
                  <a:gd name="T36" fmla="*/ 228 w 407"/>
                  <a:gd name="T37" fmla="*/ 1062 h 1305"/>
                  <a:gd name="T38" fmla="*/ 243 w 407"/>
                  <a:gd name="T39" fmla="*/ 1093 h 1305"/>
                  <a:gd name="T40" fmla="*/ 274 w 407"/>
                  <a:gd name="T41" fmla="*/ 1109 h 1305"/>
                  <a:gd name="T42" fmla="*/ 315 w 407"/>
                  <a:gd name="T43" fmla="*/ 1139 h 1305"/>
                  <a:gd name="T44" fmla="*/ 336 w 407"/>
                  <a:gd name="T45" fmla="*/ 1184 h 1305"/>
                  <a:gd name="T46" fmla="*/ 332 w 407"/>
                  <a:gd name="T47" fmla="*/ 1235 h 1305"/>
                  <a:gd name="T48" fmla="*/ 306 w 407"/>
                  <a:gd name="T49" fmla="*/ 1278 h 1305"/>
                  <a:gd name="T50" fmla="*/ 261 w 407"/>
                  <a:gd name="T51" fmla="*/ 1301 h 1305"/>
                  <a:gd name="T52" fmla="*/ 229 w 407"/>
                  <a:gd name="T53" fmla="*/ 1305 h 1305"/>
                  <a:gd name="T54" fmla="*/ 198 w 407"/>
                  <a:gd name="T55" fmla="*/ 1300 h 1305"/>
                  <a:gd name="T56" fmla="*/ 162 w 407"/>
                  <a:gd name="T57" fmla="*/ 1287 h 1305"/>
                  <a:gd name="T58" fmla="*/ 123 w 407"/>
                  <a:gd name="T59" fmla="*/ 1263 h 1305"/>
                  <a:gd name="T60" fmla="*/ 85 w 407"/>
                  <a:gd name="T61" fmla="*/ 1222 h 1305"/>
                  <a:gd name="T62" fmla="*/ 50 w 407"/>
                  <a:gd name="T63" fmla="*/ 1164 h 1305"/>
                  <a:gd name="T64" fmla="*/ 23 w 407"/>
                  <a:gd name="T65" fmla="*/ 1091 h 1305"/>
                  <a:gd name="T66" fmla="*/ 7 w 407"/>
                  <a:gd name="T67" fmla="*/ 1009 h 1305"/>
                  <a:gd name="T68" fmla="*/ 0 w 407"/>
                  <a:gd name="T69" fmla="*/ 916 h 1305"/>
                  <a:gd name="T70" fmla="*/ 2 w 407"/>
                  <a:gd name="T71" fmla="*/ 819 h 1305"/>
                  <a:gd name="T72" fmla="*/ 16 w 407"/>
                  <a:gd name="T73" fmla="*/ 719 h 1305"/>
                  <a:gd name="T74" fmla="*/ 42 w 407"/>
                  <a:gd name="T75" fmla="*/ 622 h 1305"/>
                  <a:gd name="T76" fmla="*/ 80 w 407"/>
                  <a:gd name="T77" fmla="*/ 533 h 1305"/>
                  <a:gd name="T78" fmla="*/ 133 w 407"/>
                  <a:gd name="T79" fmla="*/ 454 h 1305"/>
                  <a:gd name="T80" fmla="*/ 179 w 407"/>
                  <a:gd name="T81" fmla="*/ 405 h 1305"/>
                  <a:gd name="T82" fmla="*/ 196 w 407"/>
                  <a:gd name="T83" fmla="*/ 376 h 1305"/>
                  <a:gd name="T84" fmla="*/ 202 w 407"/>
                  <a:gd name="T85" fmla="*/ 354 h 1305"/>
                  <a:gd name="T86" fmla="*/ 199 w 407"/>
                  <a:gd name="T87" fmla="*/ 322 h 1305"/>
                  <a:gd name="T88" fmla="*/ 180 w 407"/>
                  <a:gd name="T89" fmla="*/ 275 h 1305"/>
                  <a:gd name="T90" fmla="*/ 151 w 407"/>
                  <a:gd name="T91" fmla="*/ 234 h 1305"/>
                  <a:gd name="T92" fmla="*/ 122 w 407"/>
                  <a:gd name="T93" fmla="*/ 201 h 1305"/>
                  <a:gd name="T94" fmla="*/ 102 w 407"/>
                  <a:gd name="T95" fmla="*/ 181 h 1305"/>
                  <a:gd name="T96" fmla="*/ 73 w 407"/>
                  <a:gd name="T97" fmla="*/ 144 h 1305"/>
                  <a:gd name="T98" fmla="*/ 65 w 407"/>
                  <a:gd name="T99" fmla="*/ 101 h 1305"/>
                  <a:gd name="T100" fmla="*/ 76 w 407"/>
                  <a:gd name="T101" fmla="*/ 57 h 1305"/>
                  <a:gd name="T102" fmla="*/ 105 w 407"/>
                  <a:gd name="T103" fmla="*/ 21 h 1305"/>
                  <a:gd name="T104" fmla="*/ 146 w 407"/>
                  <a:gd name="T105" fmla="*/ 3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7" h="1305">
                    <a:moveTo>
                      <a:pt x="169" y="0"/>
                    </a:moveTo>
                    <a:lnTo>
                      <a:pt x="191" y="3"/>
                    </a:lnTo>
                    <a:lnTo>
                      <a:pt x="212" y="11"/>
                    </a:lnTo>
                    <a:lnTo>
                      <a:pt x="232" y="24"/>
                    </a:lnTo>
                    <a:lnTo>
                      <a:pt x="238" y="29"/>
                    </a:lnTo>
                    <a:lnTo>
                      <a:pt x="249" y="39"/>
                    </a:lnTo>
                    <a:lnTo>
                      <a:pt x="261" y="52"/>
                    </a:lnTo>
                    <a:lnTo>
                      <a:pt x="278" y="68"/>
                    </a:lnTo>
                    <a:lnTo>
                      <a:pt x="295" y="88"/>
                    </a:lnTo>
                    <a:lnTo>
                      <a:pt x="314" y="111"/>
                    </a:lnTo>
                    <a:lnTo>
                      <a:pt x="333" y="136"/>
                    </a:lnTo>
                    <a:lnTo>
                      <a:pt x="351" y="164"/>
                    </a:lnTo>
                    <a:lnTo>
                      <a:pt x="368" y="195"/>
                    </a:lnTo>
                    <a:lnTo>
                      <a:pt x="383" y="228"/>
                    </a:lnTo>
                    <a:lnTo>
                      <a:pt x="395" y="263"/>
                    </a:lnTo>
                    <a:lnTo>
                      <a:pt x="403" y="300"/>
                    </a:lnTo>
                    <a:lnTo>
                      <a:pt x="407" y="338"/>
                    </a:lnTo>
                    <a:lnTo>
                      <a:pt x="407" y="363"/>
                    </a:lnTo>
                    <a:lnTo>
                      <a:pt x="404" y="388"/>
                    </a:lnTo>
                    <a:lnTo>
                      <a:pt x="398" y="416"/>
                    </a:lnTo>
                    <a:lnTo>
                      <a:pt x="389" y="445"/>
                    </a:lnTo>
                    <a:lnTo>
                      <a:pt x="376" y="476"/>
                    </a:lnTo>
                    <a:lnTo>
                      <a:pt x="358" y="508"/>
                    </a:lnTo>
                    <a:lnTo>
                      <a:pt x="335" y="539"/>
                    </a:lnTo>
                    <a:lnTo>
                      <a:pt x="304" y="570"/>
                    </a:lnTo>
                    <a:lnTo>
                      <a:pt x="282" y="595"/>
                    </a:lnTo>
                    <a:lnTo>
                      <a:pt x="264" y="625"/>
                    </a:lnTo>
                    <a:lnTo>
                      <a:pt x="246" y="661"/>
                    </a:lnTo>
                    <a:lnTo>
                      <a:pt x="231" y="700"/>
                    </a:lnTo>
                    <a:lnTo>
                      <a:pt x="220" y="744"/>
                    </a:lnTo>
                    <a:lnTo>
                      <a:pt x="210" y="791"/>
                    </a:lnTo>
                    <a:lnTo>
                      <a:pt x="205" y="839"/>
                    </a:lnTo>
                    <a:lnTo>
                      <a:pt x="203" y="889"/>
                    </a:lnTo>
                    <a:lnTo>
                      <a:pt x="205" y="939"/>
                    </a:lnTo>
                    <a:lnTo>
                      <a:pt x="208" y="977"/>
                    </a:lnTo>
                    <a:lnTo>
                      <a:pt x="214" y="1011"/>
                    </a:lnTo>
                    <a:lnTo>
                      <a:pt x="221" y="1039"/>
                    </a:lnTo>
                    <a:lnTo>
                      <a:pt x="228" y="1062"/>
                    </a:lnTo>
                    <a:lnTo>
                      <a:pt x="236" y="1081"/>
                    </a:lnTo>
                    <a:lnTo>
                      <a:pt x="243" y="1093"/>
                    </a:lnTo>
                    <a:lnTo>
                      <a:pt x="249" y="1102"/>
                    </a:lnTo>
                    <a:lnTo>
                      <a:pt x="274" y="1109"/>
                    </a:lnTo>
                    <a:lnTo>
                      <a:pt x="296" y="1121"/>
                    </a:lnTo>
                    <a:lnTo>
                      <a:pt x="315" y="1139"/>
                    </a:lnTo>
                    <a:lnTo>
                      <a:pt x="328" y="1160"/>
                    </a:lnTo>
                    <a:lnTo>
                      <a:pt x="336" y="1184"/>
                    </a:lnTo>
                    <a:lnTo>
                      <a:pt x="338" y="1210"/>
                    </a:lnTo>
                    <a:lnTo>
                      <a:pt x="332" y="1235"/>
                    </a:lnTo>
                    <a:lnTo>
                      <a:pt x="322" y="1258"/>
                    </a:lnTo>
                    <a:lnTo>
                      <a:pt x="306" y="1278"/>
                    </a:lnTo>
                    <a:lnTo>
                      <a:pt x="285" y="1292"/>
                    </a:lnTo>
                    <a:lnTo>
                      <a:pt x="261" y="1301"/>
                    </a:lnTo>
                    <a:lnTo>
                      <a:pt x="236" y="1305"/>
                    </a:lnTo>
                    <a:lnTo>
                      <a:pt x="229" y="1305"/>
                    </a:lnTo>
                    <a:lnTo>
                      <a:pt x="214" y="1304"/>
                    </a:lnTo>
                    <a:lnTo>
                      <a:pt x="198" y="1300"/>
                    </a:lnTo>
                    <a:lnTo>
                      <a:pt x="180" y="1295"/>
                    </a:lnTo>
                    <a:lnTo>
                      <a:pt x="162" y="1287"/>
                    </a:lnTo>
                    <a:lnTo>
                      <a:pt x="142" y="1277"/>
                    </a:lnTo>
                    <a:lnTo>
                      <a:pt x="123" y="1263"/>
                    </a:lnTo>
                    <a:lnTo>
                      <a:pt x="104" y="1244"/>
                    </a:lnTo>
                    <a:lnTo>
                      <a:pt x="85" y="1222"/>
                    </a:lnTo>
                    <a:lnTo>
                      <a:pt x="66" y="1197"/>
                    </a:lnTo>
                    <a:lnTo>
                      <a:pt x="50" y="1164"/>
                    </a:lnTo>
                    <a:lnTo>
                      <a:pt x="34" y="1127"/>
                    </a:lnTo>
                    <a:lnTo>
                      <a:pt x="23" y="1091"/>
                    </a:lnTo>
                    <a:lnTo>
                      <a:pt x="14" y="1052"/>
                    </a:lnTo>
                    <a:lnTo>
                      <a:pt x="7" y="1009"/>
                    </a:lnTo>
                    <a:lnTo>
                      <a:pt x="2" y="964"/>
                    </a:lnTo>
                    <a:lnTo>
                      <a:pt x="0" y="916"/>
                    </a:lnTo>
                    <a:lnTo>
                      <a:pt x="0" y="868"/>
                    </a:lnTo>
                    <a:lnTo>
                      <a:pt x="2" y="819"/>
                    </a:lnTo>
                    <a:lnTo>
                      <a:pt x="8" y="769"/>
                    </a:lnTo>
                    <a:lnTo>
                      <a:pt x="16" y="719"/>
                    </a:lnTo>
                    <a:lnTo>
                      <a:pt x="28" y="670"/>
                    </a:lnTo>
                    <a:lnTo>
                      <a:pt x="42" y="622"/>
                    </a:lnTo>
                    <a:lnTo>
                      <a:pt x="59" y="576"/>
                    </a:lnTo>
                    <a:lnTo>
                      <a:pt x="80" y="533"/>
                    </a:lnTo>
                    <a:lnTo>
                      <a:pt x="105" y="492"/>
                    </a:lnTo>
                    <a:lnTo>
                      <a:pt x="133" y="454"/>
                    </a:lnTo>
                    <a:lnTo>
                      <a:pt x="164" y="422"/>
                    </a:lnTo>
                    <a:lnTo>
                      <a:pt x="179" y="405"/>
                    </a:lnTo>
                    <a:lnTo>
                      <a:pt x="189" y="390"/>
                    </a:lnTo>
                    <a:lnTo>
                      <a:pt x="196" y="376"/>
                    </a:lnTo>
                    <a:lnTo>
                      <a:pt x="201" y="365"/>
                    </a:lnTo>
                    <a:lnTo>
                      <a:pt x="202" y="354"/>
                    </a:lnTo>
                    <a:lnTo>
                      <a:pt x="202" y="345"/>
                    </a:lnTo>
                    <a:lnTo>
                      <a:pt x="199" y="322"/>
                    </a:lnTo>
                    <a:lnTo>
                      <a:pt x="192" y="299"/>
                    </a:lnTo>
                    <a:lnTo>
                      <a:pt x="180" y="275"/>
                    </a:lnTo>
                    <a:lnTo>
                      <a:pt x="166" y="253"/>
                    </a:lnTo>
                    <a:lnTo>
                      <a:pt x="151" y="234"/>
                    </a:lnTo>
                    <a:lnTo>
                      <a:pt x="136" y="216"/>
                    </a:lnTo>
                    <a:lnTo>
                      <a:pt x="122" y="201"/>
                    </a:lnTo>
                    <a:lnTo>
                      <a:pt x="110" y="188"/>
                    </a:lnTo>
                    <a:lnTo>
                      <a:pt x="102" y="181"/>
                    </a:lnTo>
                    <a:lnTo>
                      <a:pt x="85" y="164"/>
                    </a:lnTo>
                    <a:lnTo>
                      <a:pt x="73" y="144"/>
                    </a:lnTo>
                    <a:lnTo>
                      <a:pt x="66" y="123"/>
                    </a:lnTo>
                    <a:lnTo>
                      <a:pt x="65" y="101"/>
                    </a:lnTo>
                    <a:lnTo>
                      <a:pt x="68" y="78"/>
                    </a:lnTo>
                    <a:lnTo>
                      <a:pt x="76" y="57"/>
                    </a:lnTo>
                    <a:lnTo>
                      <a:pt x="88" y="38"/>
                    </a:lnTo>
                    <a:lnTo>
                      <a:pt x="105" y="21"/>
                    </a:lnTo>
                    <a:lnTo>
                      <a:pt x="124" y="10"/>
                    </a:lnTo>
                    <a:lnTo>
                      <a:pt x="146" y="3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7279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2135887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ltGray">
          <a:xfrm>
            <a:off x="6581395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270252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712077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2270252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2270252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6718555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6718555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270252" y="602651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718555" y="602651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4860675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778269" y="6580189"/>
            <a:ext cx="6333956" cy="193675"/>
          </a:xfrm>
          <a:prstGeom prst="rect">
            <a:avLst/>
          </a:prstGeom>
        </p:spPr>
        <p:txBody>
          <a:bodyPr lIns="91436" tIns="45719" rIns="91436" bIns="45719"/>
          <a:lstStyle>
            <a:lvl1pPr>
              <a:defRPr sz="7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>
                <a:solidFill>
                  <a:prstClr val="black"/>
                </a:solidFill>
                <a:cs typeface="Arial" panose="020B0604020202020204" pitchFamily="34" charset="0"/>
              </a:rPr>
              <a:t>Proprietary &amp; Confidentia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10943167" cy="4876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577754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 bwMode="auto">
          <a:xfrm>
            <a:off x="0" y="3384000"/>
            <a:ext cx="12192000" cy="1188000"/>
          </a:xfrm>
          <a:solidFill>
            <a:schemeClr val="tx2"/>
          </a:solidFill>
        </p:spPr>
        <p:txBody>
          <a:bodyPr lIns="611976" rIns="179993" anchor="ctr"/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  <a:defRPr lang="en-GB" sz="2800" b="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623889" y="4850356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5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68" indent="-179381">
              <a:spcAft>
                <a:spcPts val="0"/>
              </a:spcAft>
              <a:defRPr/>
            </a:lvl3pPr>
            <a:lvl4pPr marL="361936" indent="-179381">
              <a:defRPr/>
            </a:lvl4pPr>
            <a:lvl5pPr marL="542904" indent="-179381">
              <a:defRPr/>
            </a:lvl5pPr>
            <a:lvl6pPr marL="714347" indent="-179381">
              <a:defRPr/>
            </a:lvl6pPr>
            <a:lvl7pPr marL="895314" indent="-160332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1"/>
            <a:ext cx="12192000" cy="34337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/>
            <a:endParaRPr lang="en-GB"/>
          </a:p>
        </p:txBody>
      </p:sp>
      <p:sp>
        <p:nvSpPr>
          <p:cNvPr id="10" name="TextBox 37"/>
          <p:cNvSpPr txBox="1">
            <a:spLocks noChangeArrowheads="1"/>
          </p:cNvSpPr>
          <p:nvPr userDrawn="1"/>
        </p:nvSpPr>
        <p:spPr bwMode="auto">
          <a:xfrm>
            <a:off x="10502903" y="1111254"/>
            <a:ext cx="1536700" cy="108362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4" rIns="18033" bIns="1079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en-GB" altLang="en-US" sz="1000">
                <a:solidFill>
                  <a:schemeClr val="bg1"/>
                </a:solidFill>
                <a:cs typeface="Arial" charset="0"/>
              </a:rPr>
              <a:t>If you can read this </a:t>
            </a:r>
            <a:r>
              <a:rPr lang="en-GB" altLang="en-US" sz="1000" b="1">
                <a:solidFill>
                  <a:schemeClr val="bg1"/>
                </a:solidFill>
                <a:cs typeface="Arial" charset="0"/>
              </a:rPr>
              <a:t>Click on the icon to choose a picture </a:t>
            </a:r>
            <a:r>
              <a:rPr lang="en-GB" altLang="en-US" sz="1000">
                <a:solidFill>
                  <a:schemeClr val="bg1"/>
                </a:solidFill>
                <a:cs typeface="Arial" charset="0"/>
              </a:rPr>
              <a:t>or </a:t>
            </a:r>
            <a:br>
              <a:rPr lang="en-GB" altLang="en-US" sz="1000">
                <a:solidFill>
                  <a:schemeClr val="bg1"/>
                </a:solidFill>
                <a:cs typeface="Arial" charset="0"/>
              </a:rPr>
            </a:br>
            <a:r>
              <a:rPr lang="en-GB" altLang="en-US" sz="1000" b="1">
                <a:solidFill>
                  <a:schemeClr val="bg1"/>
                </a:solidFill>
                <a:cs typeface="Arial" charset="0"/>
              </a:rPr>
              <a:t>Reset the slide</a:t>
            </a:r>
            <a:r>
              <a:rPr lang="en-GB" altLang="en-US" sz="1000">
                <a:solidFill>
                  <a:schemeClr val="bg1"/>
                </a:solidFill>
                <a:cs typeface="Arial" charset="0"/>
              </a:rPr>
              <a:t>.</a:t>
            </a:r>
          </a:p>
          <a:p>
            <a:pPr algn="ctr" eaLnBrk="1" hangingPunct="1">
              <a:defRPr/>
            </a:pPr>
            <a:r>
              <a:rPr lang="en-GB" altLang="en-US" sz="600">
                <a:solidFill>
                  <a:schemeClr val="bg1"/>
                </a:solidFill>
                <a:cs typeface="Arial" charset="0"/>
              </a:rPr>
              <a:t>To Reset: Right click on the slide thumbnail and select ‘reset slide’ or choose the ‘Reset’ button on the ‘Home’ ribbon </a:t>
            </a:r>
            <a:br>
              <a:rPr lang="en-GB" altLang="en-US" sz="600">
                <a:solidFill>
                  <a:schemeClr val="bg1"/>
                </a:solidFill>
                <a:cs typeface="Arial" charset="0"/>
              </a:rPr>
            </a:br>
            <a:r>
              <a:rPr lang="en-GB" altLang="en-US" sz="600">
                <a:solidFill>
                  <a:schemeClr val="bg1"/>
                </a:solidFill>
                <a:cs typeface="Arial" charset="0"/>
              </a:rPr>
              <a:t>(next to the font choice box)</a:t>
            </a:r>
          </a:p>
        </p:txBody>
      </p:sp>
      <p:sp>
        <p:nvSpPr>
          <p:cNvPr id="11" name="TextBox 38"/>
          <p:cNvSpPr txBox="1">
            <a:spLocks noChangeArrowheads="1"/>
          </p:cNvSpPr>
          <p:nvPr userDrawn="1"/>
        </p:nvSpPr>
        <p:spPr bwMode="auto">
          <a:xfrm>
            <a:off x="171451" y="1111254"/>
            <a:ext cx="1536700" cy="108362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4" rIns="18033" bIns="10794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Aft>
                <a:spcPts val="600"/>
              </a:spcAft>
              <a:defRPr/>
            </a:pPr>
            <a:r>
              <a:rPr lang="en-GB" altLang="en-US" sz="1000">
                <a:solidFill>
                  <a:schemeClr val="bg1"/>
                </a:solidFill>
                <a:cs typeface="Arial" charset="0"/>
              </a:rPr>
              <a:t>If you can read this </a:t>
            </a:r>
            <a:r>
              <a:rPr lang="en-GB" altLang="en-US" sz="1000" b="1">
                <a:solidFill>
                  <a:schemeClr val="bg1"/>
                </a:solidFill>
                <a:cs typeface="Arial" charset="0"/>
              </a:rPr>
              <a:t>Click on the icon to choose a picture </a:t>
            </a:r>
            <a:r>
              <a:rPr lang="en-GB" altLang="en-US" sz="1000">
                <a:solidFill>
                  <a:schemeClr val="bg1"/>
                </a:solidFill>
                <a:cs typeface="Arial" charset="0"/>
              </a:rPr>
              <a:t>or </a:t>
            </a:r>
            <a:br>
              <a:rPr lang="en-GB" altLang="en-US" sz="1000">
                <a:solidFill>
                  <a:schemeClr val="bg1"/>
                </a:solidFill>
                <a:cs typeface="Arial" charset="0"/>
              </a:rPr>
            </a:br>
            <a:r>
              <a:rPr lang="en-GB" altLang="en-US" sz="1000" b="1">
                <a:solidFill>
                  <a:schemeClr val="bg1"/>
                </a:solidFill>
                <a:cs typeface="Arial" charset="0"/>
              </a:rPr>
              <a:t>Reset the slide</a:t>
            </a:r>
            <a:r>
              <a:rPr lang="en-GB" altLang="en-US" sz="1000">
                <a:solidFill>
                  <a:schemeClr val="bg1"/>
                </a:solidFill>
                <a:cs typeface="Arial" charset="0"/>
              </a:rPr>
              <a:t>.</a:t>
            </a:r>
          </a:p>
          <a:p>
            <a:pPr algn="ctr" eaLnBrk="1" hangingPunct="1">
              <a:defRPr/>
            </a:pPr>
            <a:r>
              <a:rPr lang="en-GB" altLang="en-US" sz="600">
                <a:solidFill>
                  <a:schemeClr val="bg1"/>
                </a:solidFill>
                <a:cs typeface="Arial" charset="0"/>
              </a:rPr>
              <a:t>To Reset: Right click on the slide thumbnail and select ‘reset slide’ or choose the ‘Reset’ button on the ‘Home’ ribbon </a:t>
            </a:r>
            <a:br>
              <a:rPr lang="en-GB" altLang="en-US" sz="600">
                <a:solidFill>
                  <a:schemeClr val="bg1"/>
                </a:solidFill>
                <a:cs typeface="Arial" charset="0"/>
              </a:rPr>
            </a:br>
            <a:r>
              <a:rPr lang="en-GB" altLang="en-US" sz="600">
                <a:solidFill>
                  <a:schemeClr val="bg1"/>
                </a:solidFill>
                <a:cs typeface="Arial" charset="0"/>
              </a:rPr>
              <a:t>(next to the font choice box)</a:t>
            </a:r>
          </a:p>
        </p:txBody>
      </p:sp>
      <p:sp>
        <p:nvSpPr>
          <p:cNvPr id="5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342900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363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/>
          </a:p>
        </p:txBody>
      </p:sp>
      <p:grpSp>
        <p:nvGrpSpPr>
          <p:cNvPr id="13" name="Group 39"/>
          <p:cNvGrpSpPr>
            <a:grpSpLocks/>
          </p:cNvGrpSpPr>
          <p:nvPr userDrawn="1"/>
        </p:nvGrpSpPr>
        <p:grpSpPr bwMode="white">
          <a:xfrm>
            <a:off x="-753534" y="1"/>
            <a:ext cx="654051" cy="6865938"/>
            <a:chOff x="-565302" y="0"/>
            <a:chExt cx="490967" cy="6865432"/>
          </a:xfrm>
        </p:grpSpPr>
        <p:sp>
          <p:nvSpPr>
            <p:cNvPr id="14" name="Rectangle 1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grpSp>
          <p:nvGrpSpPr>
            <p:cNvPr id="1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TextBox 43"/>
            <p:cNvSpPr txBox="1">
              <a:spLocks noChangeArrowheads="1"/>
            </p:cNvSpPr>
            <p:nvPr userDrawn="1"/>
          </p:nvSpPr>
          <p:spPr bwMode="white">
            <a:xfrm>
              <a:off x="-536401" y="102862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8" name="TextBox 44"/>
            <p:cNvSpPr txBox="1">
              <a:spLocks noChangeArrowheads="1"/>
            </p:cNvSpPr>
            <p:nvPr userDrawn="1"/>
          </p:nvSpPr>
          <p:spPr bwMode="white">
            <a:xfrm>
              <a:off x="-536401" y="2182652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9" name="TextBox 45"/>
            <p:cNvSpPr txBox="1">
              <a:spLocks noChangeArrowheads="1"/>
            </p:cNvSpPr>
            <p:nvPr userDrawn="1"/>
          </p:nvSpPr>
          <p:spPr bwMode="white">
            <a:xfrm>
              <a:off x="-536401" y="4463721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0" name="TextBox 46"/>
            <p:cNvSpPr txBox="1">
              <a:spLocks noChangeArrowheads="1"/>
            </p:cNvSpPr>
            <p:nvPr userDrawn="1"/>
          </p:nvSpPr>
          <p:spPr bwMode="white">
            <a:xfrm>
              <a:off x="-536401" y="560187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1" name="TextBox 47"/>
            <p:cNvSpPr txBox="1">
              <a:spLocks noChangeArrowheads="1"/>
            </p:cNvSpPr>
            <p:nvPr userDrawn="1"/>
          </p:nvSpPr>
          <p:spPr bwMode="white">
            <a:xfrm>
              <a:off x="-536401" y="161119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2" name="TextBox 48"/>
            <p:cNvSpPr txBox="1">
              <a:spLocks noChangeArrowheads="1"/>
            </p:cNvSpPr>
            <p:nvPr userDrawn="1"/>
          </p:nvSpPr>
          <p:spPr bwMode="white">
            <a:xfrm>
              <a:off x="-536401" y="504946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3" name="TextBox 49"/>
            <p:cNvSpPr txBox="1">
              <a:spLocks noChangeArrowheads="1"/>
            </p:cNvSpPr>
            <p:nvPr userDrawn="1"/>
          </p:nvSpPr>
          <p:spPr bwMode="white">
            <a:xfrm>
              <a:off x="-536401" y="3338267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0" name="Group 39"/>
          <p:cNvGrpSpPr/>
          <p:nvPr userDrawn="1"/>
        </p:nvGrpSpPr>
        <p:grpSpPr bwMode="white">
          <a:xfrm>
            <a:off x="4" y="-325437"/>
            <a:ext cx="12192000" cy="233362"/>
            <a:chOff x="3" y="-325436"/>
            <a:chExt cx="9144000" cy="233362"/>
          </a:xfrm>
        </p:grpSpPr>
        <p:sp>
          <p:nvSpPr>
            <p:cNvPr id="41" name="Rectangle 4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/>
            </a:p>
          </p:txBody>
        </p:sp>
        <p:cxnSp>
          <p:nvCxnSpPr>
            <p:cNvPr id="42" name="Straight Connector 4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Rectangle 5"/>
          <p:cNvSpPr txBox="1">
            <a:spLocks noChangeArrowheads="1"/>
          </p:cNvSpPr>
          <p:nvPr userDrawn="1"/>
        </p:nvSpPr>
        <p:spPr bwMode="auto">
          <a:xfrm>
            <a:off x="988241" y="6630992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en-US" sz="600">
                <a:solidFill>
                  <a:schemeClr val="bg2"/>
                </a:solidFill>
                <a:cs typeface="+mn-cs"/>
              </a:rPr>
              <a:t>Johnson Controls  —</a:t>
            </a:r>
            <a:endParaRPr lang="en-GB" sz="600">
              <a:solidFill>
                <a:schemeClr val="bg2"/>
              </a:solidFill>
              <a:cs typeface="Arial" charset="0"/>
            </a:endParaRPr>
          </a:p>
        </p:txBody>
      </p:sp>
      <p:sp>
        <p:nvSpPr>
          <p:cNvPr id="4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1775521" y="6580189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2"/>
                </a:solidFill>
              </a:defRPr>
            </a:lvl1pPr>
          </a:lstStyle>
          <a:p>
            <a:r>
              <a:rPr lang="en-US"/>
              <a:t>Proprietary &amp; Confidentia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520220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521079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55954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Confidential and Proprietar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335184" y="1144590"/>
            <a:ext cx="5232400" cy="4876799"/>
          </a:xfrm>
        </p:spPr>
        <p:txBody>
          <a:bodyPr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867025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99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/>
          <a:lstStyle/>
          <a:p>
            <a:fld id="{B61BEF0D-F0BB-DE4B-95CE-6DB70DBA9567}" type="datetimeFigureOut">
              <a:rPr lang="en-US" dirty="0"/>
              <a:pPr/>
              <a:t>5/2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6765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02684" y="228600"/>
            <a:ext cx="9495657" cy="68580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lvl="0"/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81323699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8180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478850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4358640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493007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493007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493007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493007" y="600746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2917495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4001742" y="789345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ltGray">
          <a:xfrm>
            <a:off x="7885754" y="809067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136107" y="926505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8016436" y="946227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136107" y="4485045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136107" y="4942245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8022914" y="4504767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8022914" y="496196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136107" y="548235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022914" y="5502079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318184" y="789345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52549" y="926505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452549" y="4485045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452549" y="4942245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52549" y="548235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825611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2135887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ltGray">
          <a:xfrm>
            <a:off x="6581395" y="1333500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270252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6712077" y="1470660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2270252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2270252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6718555" y="5029200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6718555" y="5486400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2270252" y="602651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6718555" y="6026512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14476109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 bwMode="ltGray">
          <a:xfrm>
            <a:off x="4001742" y="789345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 bwMode="ltGray">
          <a:xfrm>
            <a:off x="7885754" y="809067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4136107" y="926505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8016436" y="946227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3" hasCustomPrompt="1"/>
          </p:nvPr>
        </p:nvSpPr>
        <p:spPr>
          <a:xfrm>
            <a:off x="4136107" y="4485045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4" hasCustomPrompt="1"/>
          </p:nvPr>
        </p:nvSpPr>
        <p:spPr>
          <a:xfrm>
            <a:off x="4136107" y="4942245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8022914" y="4504767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0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8022914" y="496196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  <p:sp>
        <p:nvSpPr>
          <p:cNvPr id="13" name="Text Placeholder 2"/>
          <p:cNvSpPr>
            <a:spLocks noGrp="1"/>
          </p:cNvSpPr>
          <p:nvPr>
            <p:ph type="body" idx="17" hasCustomPrompt="1"/>
          </p:nvPr>
        </p:nvSpPr>
        <p:spPr>
          <a:xfrm>
            <a:off x="4136107" y="548235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8" hasCustomPrompt="1"/>
          </p:nvPr>
        </p:nvSpPr>
        <p:spPr>
          <a:xfrm>
            <a:off x="8022914" y="5502079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318184" y="789345"/>
            <a:ext cx="3474720" cy="34747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27000" dist="127000" dir="5400000" algn="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452549" y="926505"/>
            <a:ext cx="32004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20" hasCustomPrompt="1"/>
          </p:nvPr>
        </p:nvSpPr>
        <p:spPr>
          <a:xfrm>
            <a:off x="452549" y="4485045"/>
            <a:ext cx="3200400" cy="381000"/>
          </a:xfrm>
        </p:spPr>
        <p:txBody>
          <a:bodyPr wrap="none" anchor="b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2400">
                <a:solidFill>
                  <a:schemeClr val="tx1"/>
                </a:solidFill>
                <a:latin typeface="+mj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First </a:t>
            </a:r>
            <a:r>
              <a:rPr lang="en-US" err="1"/>
              <a:t>Lastname</a:t>
            </a:r>
            <a:endParaRPr lang="en-US"/>
          </a:p>
        </p:txBody>
      </p:sp>
      <p:sp>
        <p:nvSpPr>
          <p:cNvPr id="23" name="Text Placeholder 2"/>
          <p:cNvSpPr>
            <a:spLocks noGrp="1"/>
          </p:cNvSpPr>
          <p:nvPr>
            <p:ph type="body" idx="21" hasCustomPrompt="1"/>
          </p:nvPr>
        </p:nvSpPr>
        <p:spPr>
          <a:xfrm>
            <a:off x="452549" y="4942245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22" hasCustomPrompt="1"/>
          </p:nvPr>
        </p:nvSpPr>
        <p:spPr>
          <a:xfrm>
            <a:off x="452549" y="5482357"/>
            <a:ext cx="3200400" cy="38100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mail</a:t>
            </a:r>
          </a:p>
        </p:txBody>
      </p:sp>
    </p:spTree>
    <p:extLst>
      <p:ext uri="{BB962C8B-B14F-4D97-AF65-F5344CB8AC3E}">
        <p14:creationId xmlns:p14="http://schemas.microsoft.com/office/powerpoint/2010/main" val="2351436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32297" y="0"/>
            <a:ext cx="4114800" cy="593907"/>
          </a:xfrm>
          <a:solidFill>
            <a:schemeClr val="accent1">
              <a:lumMod val="20000"/>
              <a:lumOff val="80000"/>
            </a:schemeClr>
          </a:solidFill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8389794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 bwMode="ltGray">
          <a:xfrm>
            <a:off x="0" y="3074991"/>
            <a:ext cx="667512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5400">
                <a:solidFill>
                  <a:prstClr val="white"/>
                </a:solidFill>
              </a:rPr>
              <a:t>Initiative  Updates</a:t>
            </a:r>
          </a:p>
        </p:txBody>
      </p:sp>
    </p:spTree>
    <p:extLst>
      <p:ext uri="{BB962C8B-B14F-4D97-AF65-F5344CB8AC3E}">
        <p14:creationId xmlns:p14="http://schemas.microsoft.com/office/powerpoint/2010/main" val="373451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 bwMode="ltGray">
          <a:xfrm>
            <a:off x="0" y="3074991"/>
            <a:ext cx="601472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5400">
                <a:solidFill>
                  <a:prstClr val="white"/>
                </a:solidFill>
              </a:rPr>
              <a:t>Team  Updates</a:t>
            </a:r>
          </a:p>
        </p:txBody>
      </p:sp>
    </p:spTree>
    <p:extLst>
      <p:ext uri="{BB962C8B-B14F-4D97-AF65-F5344CB8AC3E}">
        <p14:creationId xmlns:p14="http://schemas.microsoft.com/office/powerpoint/2010/main" val="1619850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et Ready 2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0"/>
            <a:ext cx="7968208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ltGray">
          <a:xfrm>
            <a:off x="0" y="1600200"/>
            <a:ext cx="4953000" cy="1828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 bwMode="auto">
          <a:xfrm>
            <a:off x="626533" y="1333501"/>
            <a:ext cx="3945467" cy="1447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6500">
                <a:solidFill>
                  <a:prstClr val="white"/>
                </a:solidFill>
              </a:rPr>
              <a:t>Get ready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 bwMode="auto">
          <a:xfrm>
            <a:off x="626533" y="2724150"/>
            <a:ext cx="4174067" cy="496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200">
                <a:solidFill>
                  <a:prstClr val="white"/>
                </a:solidFill>
              </a:rPr>
              <a:t>to actively particip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8172" y="3886200"/>
            <a:ext cx="4116229" cy="1828800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100" baseline="0">
                <a:solidFill>
                  <a:schemeClr val="bg2"/>
                </a:solidFill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laceholder text</a:t>
            </a:r>
          </a:p>
        </p:txBody>
      </p:sp>
    </p:spTree>
    <p:extLst>
      <p:ext uri="{BB962C8B-B14F-4D97-AF65-F5344CB8AC3E}">
        <p14:creationId xmlns:p14="http://schemas.microsoft.com/office/powerpoint/2010/main" val="12274425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ll Multipl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5102659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ltGray">
          <a:xfrm>
            <a:off x="0" y="4379356"/>
            <a:ext cx="541020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638177" y="4468256"/>
            <a:ext cx="3857625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5400">
                <a:solidFill>
                  <a:prstClr val="white"/>
                </a:solidFill>
              </a:rPr>
              <a:t>Pol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638800" y="584200"/>
            <a:ext cx="5943600" cy="1028700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[Type a question here that allows for a multiple answers]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5638800" y="1854201"/>
            <a:ext cx="5943600" cy="3860800"/>
          </a:xfrm>
        </p:spPr>
        <p:txBody>
          <a:bodyPr>
            <a:noAutofit/>
          </a:bodyPr>
          <a:lstStyle>
            <a:lvl1pPr marL="457182" marR="0" indent="-457182" algn="l" defTabSz="914363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Tx/>
              <a:buFont typeface="+mj-lt"/>
              <a:buAutoNum type="alphaLcPeriod"/>
              <a:tabLst/>
              <a:defRPr sz="1800"/>
            </a:lvl1pPr>
            <a:lvl2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2pPr>
            <a:lvl3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3pPr>
            <a:lvl4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4pPr>
            <a:lvl5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5pPr>
            <a:lvl6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6pPr>
            <a:lvl7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7pPr>
            <a:lvl8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8pPr>
            <a:lvl9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9pPr>
          </a:lstStyle>
          <a:p>
            <a:pPr fontAlgn="auto"/>
            <a:r>
              <a:rPr lang="en-US"/>
              <a:t>[answer] Press Enter before typing each additional answer</a:t>
            </a:r>
          </a:p>
        </p:txBody>
      </p:sp>
    </p:spTree>
    <p:extLst>
      <p:ext uri="{BB962C8B-B14F-4D97-AF65-F5344CB8AC3E}">
        <p14:creationId xmlns:p14="http://schemas.microsoft.com/office/powerpoint/2010/main" val="2144780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ussion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" y="8001"/>
            <a:ext cx="12191617" cy="406907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ltGray">
          <a:xfrm>
            <a:off x="-1" y="3889829"/>
            <a:ext cx="4909869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0" y="3889829"/>
            <a:ext cx="47193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Program Updates</a:t>
            </a:r>
          </a:p>
        </p:txBody>
      </p:sp>
    </p:spTree>
    <p:extLst>
      <p:ext uri="{BB962C8B-B14F-4D97-AF65-F5344CB8AC3E}">
        <p14:creationId xmlns:p14="http://schemas.microsoft.com/office/powerpoint/2010/main" val="22665779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scussion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" y="8001"/>
            <a:ext cx="12191617" cy="406907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ltGray">
          <a:xfrm>
            <a:off x="-1" y="3889829"/>
            <a:ext cx="4909869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0" y="3889829"/>
            <a:ext cx="47193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SFDC Update</a:t>
            </a:r>
          </a:p>
        </p:txBody>
      </p:sp>
    </p:spTree>
    <p:extLst>
      <p:ext uri="{BB962C8B-B14F-4D97-AF65-F5344CB8AC3E}">
        <p14:creationId xmlns:p14="http://schemas.microsoft.com/office/powerpoint/2010/main" val="3003007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eedback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028406"/>
            <a:ext cx="9144000" cy="927894"/>
          </a:xfrm>
        </p:spPr>
        <p:txBody>
          <a:bodyPr wrap="square"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Insert question if appropriat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7384"/>
            <a:ext cx="12192000" cy="410445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invGray">
          <a:xfrm>
            <a:off x="0" y="3889829"/>
            <a:ext cx="4639573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-171450" y="3889829"/>
            <a:ext cx="4639573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Marketing Updates</a:t>
            </a:r>
          </a:p>
        </p:txBody>
      </p:sp>
    </p:spTree>
    <p:extLst>
      <p:ext uri="{BB962C8B-B14F-4D97-AF65-F5344CB8AC3E}">
        <p14:creationId xmlns:p14="http://schemas.microsoft.com/office/powerpoint/2010/main" val="6529593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1" cy="6858000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32297" y="0"/>
            <a:ext cx="4114800" cy="593907"/>
          </a:xfrm>
          <a:solidFill>
            <a:schemeClr val="accent1">
              <a:lumMod val="20000"/>
              <a:lumOff val="80000"/>
            </a:schemeClr>
          </a:solidFill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91323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out Sessions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6" name="Title 2"/>
          <p:cNvSpPr txBox="1">
            <a:spLocks/>
          </p:cNvSpPr>
          <p:nvPr/>
        </p:nvSpPr>
        <p:spPr>
          <a:xfrm>
            <a:off x="4400669" y="2678784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6000">
                <a:solidFill>
                  <a:prstClr val="white"/>
                </a:solidFill>
              </a:rPr>
              <a:t>Breakout session</a:t>
            </a:r>
          </a:p>
        </p:txBody>
      </p:sp>
      <p:sp>
        <p:nvSpPr>
          <p:cNvPr id="28" name="Title 2"/>
          <p:cNvSpPr txBox="1">
            <a:spLocks/>
          </p:cNvSpPr>
          <p:nvPr/>
        </p:nvSpPr>
        <p:spPr>
          <a:xfrm>
            <a:off x="4432420" y="2299745"/>
            <a:ext cx="6572131" cy="50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00671" y="3962400"/>
            <a:ext cx="6248400" cy="1754188"/>
          </a:xfrm>
        </p:spPr>
        <p:txBody>
          <a:bodyPr wrap="square" anchor="t">
            <a:no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instructions for activity if appropriate]</a:t>
            </a:r>
          </a:p>
        </p:txBody>
      </p:sp>
      <p:sp>
        <p:nvSpPr>
          <p:cNvPr id="16" name="Oval 15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37" name="Paired discussion"/>
          <p:cNvGrpSpPr/>
          <p:nvPr userDrawn="1"/>
        </p:nvGrpSpPr>
        <p:grpSpPr>
          <a:xfrm>
            <a:off x="2662578" y="2281579"/>
            <a:ext cx="766423" cy="766422"/>
            <a:chOff x="6127254" y="2202852"/>
            <a:chExt cx="766422" cy="766422"/>
          </a:xfrm>
        </p:grpSpPr>
        <p:sp>
          <p:nvSpPr>
            <p:cNvPr id="38" name="Oval 37"/>
            <p:cNvSpPr/>
            <p:nvPr/>
          </p:nvSpPr>
          <p:spPr bwMode="black">
            <a:xfrm>
              <a:off x="6127254" y="22028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9" name="Oval Callout 38"/>
            <p:cNvSpPr/>
            <p:nvPr/>
          </p:nvSpPr>
          <p:spPr bwMode="auto">
            <a:xfrm flipV="1">
              <a:off x="6384086" y="2287737"/>
              <a:ext cx="252759" cy="216936"/>
            </a:xfrm>
            <a:prstGeom prst="wedgeEllipseCallout">
              <a:avLst>
                <a:gd name="adj1" fmla="val 3421"/>
                <a:gd name="adj2" fmla="val -73598"/>
              </a:avLst>
            </a:prstGeom>
            <a:noFill/>
            <a:ln w="22225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40" name="Group 39"/>
            <p:cNvGrpSpPr/>
            <p:nvPr/>
          </p:nvGrpSpPr>
          <p:grpSpPr bwMode="black">
            <a:xfrm>
              <a:off x="6270848" y="2545089"/>
              <a:ext cx="497735" cy="234978"/>
              <a:chOff x="1193797" y="868129"/>
              <a:chExt cx="497735" cy="234978"/>
            </a:xfrm>
          </p:grpSpPr>
          <p:sp>
            <p:nvSpPr>
              <p:cNvPr id="41" name="Freeform 40"/>
              <p:cNvSpPr/>
              <p:nvPr/>
            </p:nvSpPr>
            <p:spPr bwMode="black">
              <a:xfrm>
                <a:off x="1459101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42" name="Freeform 41"/>
              <p:cNvSpPr/>
              <p:nvPr/>
            </p:nvSpPr>
            <p:spPr bwMode="black">
              <a:xfrm>
                <a:off x="1193797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826739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out 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[Breakout session instructions]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9" y="1524000"/>
            <a:ext cx="7300381" cy="4497389"/>
          </a:xfrm>
        </p:spPr>
        <p:txBody>
          <a:bodyPr/>
          <a:lstStyle>
            <a:lvl1pPr marL="342886" indent="-342886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100"/>
            </a:lvl1pPr>
            <a:lvl2pPr marL="700060" indent="-342886">
              <a:buFont typeface="+mj-lt"/>
              <a:buAutoNum type="arabicPeriod"/>
              <a:defRPr sz="1800"/>
            </a:lvl2pPr>
            <a:lvl3pPr marL="966749" indent="-342886">
              <a:buFont typeface="+mj-lt"/>
              <a:buAutoNum type="arabicPeriod"/>
              <a:defRPr sz="1500"/>
            </a:lvl3pPr>
            <a:lvl4pPr>
              <a:buFont typeface="+mj-lt"/>
              <a:buAutoNum type="arabicPeriod"/>
              <a:defRPr sz="1400"/>
            </a:lvl4pPr>
            <a:lvl5pPr>
              <a:buFont typeface="+mj-lt"/>
              <a:buAutoNum type="arabicPeriod"/>
              <a:defRPr sz="1400"/>
            </a:lvl5pPr>
          </a:lstStyle>
          <a:p>
            <a:pPr lvl="0"/>
            <a:r>
              <a:rPr lang="en-US"/>
              <a:t>[Insert step]</a:t>
            </a:r>
            <a:endParaRPr lang="en-GB"/>
          </a:p>
        </p:txBody>
      </p:sp>
      <p:sp>
        <p:nvSpPr>
          <p:cNvPr id="10" name="Text Placeholder 2"/>
          <p:cNvSpPr txBox="1">
            <a:spLocks/>
          </p:cNvSpPr>
          <p:nvPr userDrawn="1"/>
        </p:nvSpPr>
        <p:spPr>
          <a:xfrm>
            <a:off x="9742889" y="2597150"/>
            <a:ext cx="2073524" cy="2984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2100">
                <a:solidFill>
                  <a:prstClr val="black"/>
                </a:solidFill>
              </a:rPr>
              <a:t>Total time:</a:t>
            </a:r>
            <a:endParaRPr lang="en-US" sz="2100" b="1">
              <a:solidFill>
                <a:srgbClr val="10CF9B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952143" y="2900680"/>
            <a:ext cx="1665183" cy="37719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XX minutes</a:t>
            </a:r>
          </a:p>
        </p:txBody>
      </p:sp>
      <p:grpSp>
        <p:nvGrpSpPr>
          <p:cNvPr id="13" name="Stopwatch"/>
          <p:cNvGrpSpPr/>
          <p:nvPr userDrawn="1"/>
        </p:nvGrpSpPr>
        <p:grpSpPr>
          <a:xfrm>
            <a:off x="10419329" y="1551316"/>
            <a:ext cx="766423" cy="766422"/>
            <a:chOff x="7113229" y="3790352"/>
            <a:chExt cx="766422" cy="766422"/>
          </a:xfrm>
        </p:grpSpPr>
        <p:sp>
          <p:nvSpPr>
            <p:cNvPr id="14" name="Oval 13"/>
            <p:cNvSpPr/>
            <p:nvPr/>
          </p:nvSpPr>
          <p:spPr bwMode="auto">
            <a:xfrm>
              <a:off x="7113229" y="37903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7275459" y="3886586"/>
              <a:ext cx="443873" cy="545379"/>
              <a:chOff x="5020705" y="3838058"/>
              <a:chExt cx="557977" cy="685577"/>
            </a:xfrm>
            <a:solidFill>
              <a:schemeClr val="accent2"/>
            </a:solidFill>
          </p:grpSpPr>
          <p:sp>
            <p:nvSpPr>
              <p:cNvPr id="16" name="Freeform 338"/>
              <p:cNvSpPr>
                <a:spLocks noEditPoints="1"/>
              </p:cNvSpPr>
              <p:nvPr/>
            </p:nvSpPr>
            <p:spPr bwMode="auto">
              <a:xfrm>
                <a:off x="5236975" y="4028376"/>
                <a:ext cx="125437" cy="278989"/>
              </a:xfrm>
              <a:custGeom>
                <a:avLst/>
                <a:gdLst>
                  <a:gd name="T0" fmla="*/ 24 w 40"/>
                  <a:gd name="T1" fmla="*/ 48 h 88"/>
                  <a:gd name="T2" fmla="*/ 24 w 40"/>
                  <a:gd name="T3" fmla="*/ 4 h 88"/>
                  <a:gd name="T4" fmla="*/ 20 w 40"/>
                  <a:gd name="T5" fmla="*/ 0 h 88"/>
                  <a:gd name="T6" fmla="*/ 16 w 40"/>
                  <a:gd name="T7" fmla="*/ 4 h 88"/>
                  <a:gd name="T8" fmla="*/ 16 w 40"/>
                  <a:gd name="T9" fmla="*/ 48 h 88"/>
                  <a:gd name="T10" fmla="*/ 0 w 40"/>
                  <a:gd name="T11" fmla="*/ 68 h 88"/>
                  <a:gd name="T12" fmla="*/ 20 w 40"/>
                  <a:gd name="T13" fmla="*/ 88 h 88"/>
                  <a:gd name="T14" fmla="*/ 40 w 40"/>
                  <a:gd name="T15" fmla="*/ 68 h 88"/>
                  <a:gd name="T16" fmla="*/ 24 w 40"/>
                  <a:gd name="T17" fmla="*/ 48 h 88"/>
                  <a:gd name="T18" fmla="*/ 20 w 40"/>
                  <a:gd name="T19" fmla="*/ 80 h 88"/>
                  <a:gd name="T20" fmla="*/ 8 w 40"/>
                  <a:gd name="T21" fmla="*/ 68 h 88"/>
                  <a:gd name="T22" fmla="*/ 20 w 40"/>
                  <a:gd name="T23" fmla="*/ 56 h 88"/>
                  <a:gd name="T24" fmla="*/ 32 w 40"/>
                  <a:gd name="T25" fmla="*/ 68 h 88"/>
                  <a:gd name="T26" fmla="*/ 20 w 40"/>
                  <a:gd name="T27" fmla="*/ 8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88">
                    <a:moveTo>
                      <a:pt x="24" y="48"/>
                    </a:moveTo>
                    <a:cubicBezTo>
                      <a:pt x="24" y="4"/>
                      <a:pt x="24" y="4"/>
                      <a:pt x="24" y="4"/>
                    </a:cubicBezTo>
                    <a:cubicBezTo>
                      <a:pt x="24" y="2"/>
                      <a:pt x="22" y="0"/>
                      <a:pt x="20" y="0"/>
                    </a:cubicBezTo>
                    <a:cubicBezTo>
                      <a:pt x="18" y="0"/>
                      <a:pt x="16" y="2"/>
                      <a:pt x="16" y="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7" y="50"/>
                      <a:pt x="0" y="58"/>
                      <a:pt x="0" y="68"/>
                    </a:cubicBezTo>
                    <a:cubicBezTo>
                      <a:pt x="0" y="79"/>
                      <a:pt x="9" y="88"/>
                      <a:pt x="20" y="88"/>
                    </a:cubicBezTo>
                    <a:cubicBezTo>
                      <a:pt x="31" y="88"/>
                      <a:pt x="40" y="79"/>
                      <a:pt x="40" y="68"/>
                    </a:cubicBezTo>
                    <a:cubicBezTo>
                      <a:pt x="40" y="58"/>
                      <a:pt x="33" y="50"/>
                      <a:pt x="24" y="48"/>
                    </a:cubicBezTo>
                    <a:close/>
                    <a:moveTo>
                      <a:pt x="20" y="80"/>
                    </a:moveTo>
                    <a:cubicBezTo>
                      <a:pt x="13" y="80"/>
                      <a:pt x="8" y="75"/>
                      <a:pt x="8" y="68"/>
                    </a:cubicBezTo>
                    <a:cubicBezTo>
                      <a:pt x="8" y="61"/>
                      <a:pt x="13" y="56"/>
                      <a:pt x="20" y="56"/>
                    </a:cubicBezTo>
                    <a:cubicBezTo>
                      <a:pt x="27" y="56"/>
                      <a:pt x="32" y="61"/>
                      <a:pt x="32" y="68"/>
                    </a:cubicBezTo>
                    <a:cubicBezTo>
                      <a:pt x="32" y="75"/>
                      <a:pt x="27" y="80"/>
                      <a:pt x="20" y="8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339"/>
              <p:cNvSpPr>
                <a:spLocks noEditPoints="1"/>
              </p:cNvSpPr>
              <p:nvPr/>
            </p:nvSpPr>
            <p:spPr bwMode="auto">
              <a:xfrm>
                <a:off x="5020705" y="3959169"/>
                <a:ext cx="557977" cy="564466"/>
              </a:xfrm>
              <a:custGeom>
                <a:avLst/>
                <a:gdLst>
                  <a:gd name="T0" fmla="*/ 158 w 176"/>
                  <a:gd name="T1" fmla="*/ 37 h 178"/>
                  <a:gd name="T2" fmla="*/ 159 w 176"/>
                  <a:gd name="T3" fmla="*/ 37 h 178"/>
                  <a:gd name="T4" fmla="*/ 169 w 176"/>
                  <a:gd name="T5" fmla="*/ 26 h 178"/>
                  <a:gd name="T6" fmla="*/ 169 w 176"/>
                  <a:gd name="T7" fmla="*/ 10 h 178"/>
                  <a:gd name="T8" fmla="*/ 164 w 176"/>
                  <a:gd name="T9" fmla="*/ 5 h 178"/>
                  <a:gd name="T10" fmla="*/ 148 w 176"/>
                  <a:gd name="T11" fmla="*/ 5 h 178"/>
                  <a:gd name="T12" fmla="*/ 137 w 176"/>
                  <a:gd name="T13" fmla="*/ 15 h 178"/>
                  <a:gd name="T14" fmla="*/ 136 w 176"/>
                  <a:gd name="T15" fmla="*/ 16 h 178"/>
                  <a:gd name="T16" fmla="*/ 88 w 176"/>
                  <a:gd name="T17" fmla="*/ 2 h 178"/>
                  <a:gd name="T18" fmla="*/ 0 w 176"/>
                  <a:gd name="T19" fmla="*/ 90 h 178"/>
                  <a:gd name="T20" fmla="*/ 88 w 176"/>
                  <a:gd name="T21" fmla="*/ 178 h 178"/>
                  <a:gd name="T22" fmla="*/ 176 w 176"/>
                  <a:gd name="T23" fmla="*/ 90 h 178"/>
                  <a:gd name="T24" fmla="*/ 158 w 176"/>
                  <a:gd name="T25" fmla="*/ 37 h 178"/>
                  <a:gd name="T26" fmla="*/ 143 w 176"/>
                  <a:gd name="T27" fmla="*/ 21 h 178"/>
                  <a:gd name="T28" fmla="*/ 153 w 176"/>
                  <a:gd name="T29" fmla="*/ 10 h 178"/>
                  <a:gd name="T30" fmla="*/ 159 w 176"/>
                  <a:gd name="T31" fmla="*/ 10 h 178"/>
                  <a:gd name="T32" fmla="*/ 164 w 176"/>
                  <a:gd name="T33" fmla="*/ 15 h 178"/>
                  <a:gd name="T34" fmla="*/ 164 w 176"/>
                  <a:gd name="T35" fmla="*/ 21 h 178"/>
                  <a:gd name="T36" fmla="*/ 153 w 176"/>
                  <a:gd name="T37" fmla="*/ 31 h 178"/>
                  <a:gd name="T38" fmla="*/ 143 w 176"/>
                  <a:gd name="T39" fmla="*/ 21 h 178"/>
                  <a:gd name="T40" fmla="*/ 143 w 176"/>
                  <a:gd name="T41" fmla="*/ 21 h 178"/>
                  <a:gd name="T42" fmla="*/ 88 w 176"/>
                  <a:gd name="T43" fmla="*/ 170 h 178"/>
                  <a:gd name="T44" fmla="*/ 8 w 176"/>
                  <a:gd name="T45" fmla="*/ 90 h 178"/>
                  <a:gd name="T46" fmla="*/ 88 w 176"/>
                  <a:gd name="T47" fmla="*/ 10 h 178"/>
                  <a:gd name="T48" fmla="*/ 168 w 176"/>
                  <a:gd name="T49" fmla="*/ 90 h 178"/>
                  <a:gd name="T50" fmla="*/ 88 w 176"/>
                  <a:gd name="T51" fmla="*/ 17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6" h="178">
                    <a:moveTo>
                      <a:pt x="158" y="37"/>
                    </a:moveTo>
                    <a:cubicBezTo>
                      <a:pt x="158" y="37"/>
                      <a:pt x="159" y="37"/>
                      <a:pt x="159" y="37"/>
                    </a:cubicBezTo>
                    <a:cubicBezTo>
                      <a:pt x="169" y="26"/>
                      <a:pt x="169" y="26"/>
                      <a:pt x="169" y="26"/>
                    </a:cubicBezTo>
                    <a:cubicBezTo>
                      <a:pt x="174" y="22"/>
                      <a:pt x="174" y="14"/>
                      <a:pt x="169" y="10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0" y="0"/>
                      <a:pt x="152" y="0"/>
                      <a:pt x="148" y="5"/>
                    </a:cubicBezTo>
                    <a:cubicBezTo>
                      <a:pt x="137" y="15"/>
                      <a:pt x="137" y="15"/>
                      <a:pt x="137" y="15"/>
                    </a:cubicBezTo>
                    <a:cubicBezTo>
                      <a:pt x="137" y="16"/>
                      <a:pt x="136" y="16"/>
                      <a:pt x="136" y="16"/>
                    </a:cubicBezTo>
                    <a:cubicBezTo>
                      <a:pt x="122" y="7"/>
                      <a:pt x="106" y="2"/>
                      <a:pt x="88" y="2"/>
                    </a:cubicBezTo>
                    <a:cubicBezTo>
                      <a:pt x="39" y="2"/>
                      <a:pt x="0" y="41"/>
                      <a:pt x="0" y="90"/>
                    </a:cubicBezTo>
                    <a:cubicBezTo>
                      <a:pt x="0" y="139"/>
                      <a:pt x="39" y="178"/>
                      <a:pt x="88" y="178"/>
                    </a:cubicBezTo>
                    <a:cubicBezTo>
                      <a:pt x="137" y="178"/>
                      <a:pt x="176" y="139"/>
                      <a:pt x="176" y="90"/>
                    </a:cubicBezTo>
                    <a:cubicBezTo>
                      <a:pt x="176" y="70"/>
                      <a:pt x="169" y="52"/>
                      <a:pt x="158" y="37"/>
                    </a:cubicBezTo>
                    <a:close/>
                    <a:moveTo>
                      <a:pt x="143" y="21"/>
                    </a:moveTo>
                    <a:cubicBezTo>
                      <a:pt x="153" y="10"/>
                      <a:pt x="153" y="10"/>
                      <a:pt x="153" y="10"/>
                    </a:cubicBezTo>
                    <a:cubicBezTo>
                      <a:pt x="155" y="9"/>
                      <a:pt x="157" y="9"/>
                      <a:pt x="159" y="10"/>
                    </a:cubicBezTo>
                    <a:cubicBezTo>
                      <a:pt x="164" y="15"/>
                      <a:pt x="164" y="15"/>
                      <a:pt x="164" y="15"/>
                    </a:cubicBezTo>
                    <a:cubicBezTo>
                      <a:pt x="165" y="17"/>
                      <a:pt x="165" y="19"/>
                      <a:pt x="164" y="21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150" y="27"/>
                      <a:pt x="146" y="24"/>
                      <a:pt x="143" y="21"/>
                    </a:cubicBezTo>
                    <a:cubicBezTo>
                      <a:pt x="143" y="21"/>
                      <a:pt x="143" y="21"/>
                      <a:pt x="143" y="21"/>
                    </a:cubicBezTo>
                    <a:close/>
                    <a:moveTo>
                      <a:pt x="88" y="170"/>
                    </a:moveTo>
                    <a:cubicBezTo>
                      <a:pt x="44" y="170"/>
                      <a:pt x="8" y="134"/>
                      <a:pt x="8" y="90"/>
                    </a:cubicBezTo>
                    <a:cubicBezTo>
                      <a:pt x="8" y="46"/>
                      <a:pt x="44" y="10"/>
                      <a:pt x="88" y="10"/>
                    </a:cubicBezTo>
                    <a:cubicBezTo>
                      <a:pt x="132" y="10"/>
                      <a:pt x="168" y="46"/>
                      <a:pt x="168" y="90"/>
                    </a:cubicBezTo>
                    <a:cubicBezTo>
                      <a:pt x="168" y="134"/>
                      <a:pt x="132" y="170"/>
                      <a:pt x="88" y="1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340"/>
              <p:cNvSpPr>
                <a:spLocks noEditPoints="1"/>
              </p:cNvSpPr>
              <p:nvPr/>
            </p:nvSpPr>
            <p:spPr bwMode="auto">
              <a:xfrm>
                <a:off x="5211023" y="3838058"/>
                <a:ext cx="177342" cy="101648"/>
              </a:xfrm>
              <a:custGeom>
                <a:avLst/>
                <a:gdLst>
                  <a:gd name="T0" fmla="*/ 12 w 56"/>
                  <a:gd name="T1" fmla="*/ 32 h 32"/>
                  <a:gd name="T2" fmla="*/ 44 w 56"/>
                  <a:gd name="T3" fmla="*/ 32 h 32"/>
                  <a:gd name="T4" fmla="*/ 44 w 56"/>
                  <a:gd name="T5" fmla="*/ 32 h 32"/>
                  <a:gd name="T6" fmla="*/ 56 w 56"/>
                  <a:gd name="T7" fmla="*/ 20 h 32"/>
                  <a:gd name="T8" fmla="*/ 56 w 56"/>
                  <a:gd name="T9" fmla="*/ 16 h 32"/>
                  <a:gd name="T10" fmla="*/ 45 w 56"/>
                  <a:gd name="T11" fmla="*/ 2 h 32"/>
                  <a:gd name="T12" fmla="*/ 11 w 56"/>
                  <a:gd name="T13" fmla="*/ 2 h 32"/>
                  <a:gd name="T14" fmla="*/ 0 w 56"/>
                  <a:gd name="T15" fmla="*/ 16 h 32"/>
                  <a:gd name="T16" fmla="*/ 0 w 56"/>
                  <a:gd name="T17" fmla="*/ 20 h 32"/>
                  <a:gd name="T18" fmla="*/ 12 w 56"/>
                  <a:gd name="T19" fmla="*/ 32 h 32"/>
                  <a:gd name="T20" fmla="*/ 8 w 56"/>
                  <a:gd name="T21" fmla="*/ 16 h 32"/>
                  <a:gd name="T22" fmla="*/ 13 w 56"/>
                  <a:gd name="T23" fmla="*/ 10 h 32"/>
                  <a:gd name="T24" fmla="*/ 28 w 56"/>
                  <a:gd name="T25" fmla="*/ 8 h 32"/>
                  <a:gd name="T26" fmla="*/ 43 w 56"/>
                  <a:gd name="T27" fmla="*/ 10 h 32"/>
                  <a:gd name="T28" fmla="*/ 48 w 56"/>
                  <a:gd name="T29" fmla="*/ 16 h 32"/>
                  <a:gd name="T30" fmla="*/ 48 w 56"/>
                  <a:gd name="T31" fmla="*/ 20 h 32"/>
                  <a:gd name="T32" fmla="*/ 44 w 56"/>
                  <a:gd name="T33" fmla="*/ 24 h 32"/>
                  <a:gd name="T34" fmla="*/ 12 w 56"/>
                  <a:gd name="T35" fmla="*/ 24 h 32"/>
                  <a:gd name="T36" fmla="*/ 8 w 56"/>
                  <a:gd name="T37" fmla="*/ 20 h 32"/>
                  <a:gd name="T38" fmla="*/ 8 w 56"/>
                  <a:gd name="T3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" h="32">
                    <a:moveTo>
                      <a:pt x="12" y="32"/>
                    </a:move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51" y="32"/>
                      <a:pt x="56" y="26"/>
                      <a:pt x="56" y="20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10"/>
                      <a:pt x="51" y="3"/>
                      <a:pt x="45" y="2"/>
                    </a:cubicBezTo>
                    <a:cubicBezTo>
                      <a:pt x="34" y="0"/>
                      <a:pt x="22" y="0"/>
                      <a:pt x="11" y="2"/>
                    </a:cubicBezTo>
                    <a:cubicBezTo>
                      <a:pt x="5" y="3"/>
                      <a:pt x="0" y="10"/>
                      <a:pt x="0" y="1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6"/>
                      <a:pt x="5" y="32"/>
                      <a:pt x="12" y="32"/>
                    </a:cubicBezTo>
                    <a:close/>
                    <a:moveTo>
                      <a:pt x="8" y="16"/>
                    </a:moveTo>
                    <a:cubicBezTo>
                      <a:pt x="8" y="13"/>
                      <a:pt x="10" y="10"/>
                      <a:pt x="13" y="10"/>
                    </a:cubicBezTo>
                    <a:cubicBezTo>
                      <a:pt x="18" y="9"/>
                      <a:pt x="23" y="8"/>
                      <a:pt x="28" y="8"/>
                    </a:cubicBezTo>
                    <a:cubicBezTo>
                      <a:pt x="33" y="8"/>
                      <a:pt x="38" y="9"/>
                      <a:pt x="43" y="10"/>
                    </a:cubicBezTo>
                    <a:cubicBezTo>
                      <a:pt x="46" y="10"/>
                      <a:pt x="48" y="13"/>
                      <a:pt x="48" y="16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2"/>
                      <a:pt x="46" y="24"/>
                      <a:pt x="44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0" y="24"/>
                      <a:pt x="8" y="22"/>
                      <a:pt x="8" y="20"/>
                    </a:cubicBezTo>
                    <a:lnTo>
                      <a:pt x="8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341"/>
              <p:cNvSpPr>
                <a:spLocks/>
              </p:cNvSpPr>
              <p:nvPr/>
            </p:nvSpPr>
            <p:spPr bwMode="auto">
              <a:xfrm>
                <a:off x="5072610" y="4231670"/>
                <a:ext cx="49743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342"/>
              <p:cNvSpPr>
                <a:spLocks/>
              </p:cNvSpPr>
              <p:nvPr/>
            </p:nvSpPr>
            <p:spPr bwMode="auto">
              <a:xfrm>
                <a:off x="5477034" y="4231670"/>
                <a:ext cx="51905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343"/>
              <p:cNvSpPr>
                <a:spLocks/>
              </p:cNvSpPr>
              <p:nvPr/>
            </p:nvSpPr>
            <p:spPr bwMode="auto">
              <a:xfrm>
                <a:off x="5286717" y="4421987"/>
                <a:ext cx="25952" cy="5190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799357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ctivity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itle 2"/>
          <p:cNvSpPr txBox="1">
            <a:spLocks/>
          </p:cNvSpPr>
          <p:nvPr/>
        </p:nvSpPr>
        <p:spPr>
          <a:xfrm>
            <a:off x="4400669" y="2421782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6000">
                <a:solidFill>
                  <a:prstClr val="white"/>
                </a:solidFill>
              </a:rPr>
              <a:t>Activity</a:t>
            </a:r>
          </a:p>
        </p:txBody>
      </p:sp>
      <p:sp>
        <p:nvSpPr>
          <p:cNvPr id="4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400671" y="3962400"/>
            <a:ext cx="6248400" cy="1754188"/>
          </a:xfrm>
        </p:spPr>
        <p:txBody>
          <a:bodyPr wrap="square" anchor="t">
            <a:noAutofit/>
          </a:bodyPr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4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instructions for activity if appropriate]</a:t>
            </a:r>
          </a:p>
        </p:txBody>
      </p:sp>
      <p:sp>
        <p:nvSpPr>
          <p:cNvPr id="12" name="Oval 11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2" name="Paired practice"/>
          <p:cNvGrpSpPr/>
          <p:nvPr userDrawn="1"/>
        </p:nvGrpSpPr>
        <p:grpSpPr>
          <a:xfrm>
            <a:off x="2662578" y="2286001"/>
            <a:ext cx="766423" cy="766422"/>
            <a:chOff x="609443" y="3790352"/>
            <a:chExt cx="766422" cy="766422"/>
          </a:xfrm>
        </p:grpSpPr>
        <p:grpSp>
          <p:nvGrpSpPr>
            <p:cNvPr id="23" name="Group 22"/>
            <p:cNvGrpSpPr/>
            <p:nvPr/>
          </p:nvGrpSpPr>
          <p:grpSpPr>
            <a:xfrm>
              <a:off x="609443" y="3790352"/>
              <a:ext cx="766422" cy="766422"/>
              <a:chOff x="10380717" y="2454745"/>
              <a:chExt cx="2442023" cy="2442023"/>
            </a:xfrm>
          </p:grpSpPr>
          <p:sp>
            <p:nvSpPr>
              <p:cNvPr id="26" name="Oval 25"/>
              <p:cNvSpPr/>
              <p:nvPr/>
            </p:nvSpPr>
            <p:spPr bwMode="black">
              <a:xfrm>
                <a:off x="10380717" y="2454745"/>
                <a:ext cx="2442023" cy="2442023"/>
              </a:xfrm>
              <a:prstGeom prst="ellipse">
                <a:avLst/>
              </a:prstGeom>
              <a:noFill/>
              <a:ln w="25400" cap="flat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grpSp>
            <p:nvGrpSpPr>
              <p:cNvPr id="27" name="Group 26"/>
              <p:cNvGrpSpPr/>
              <p:nvPr/>
            </p:nvGrpSpPr>
            <p:grpSpPr>
              <a:xfrm>
                <a:off x="10883774" y="2868095"/>
                <a:ext cx="1326026" cy="1277661"/>
                <a:chOff x="10883774" y="2868095"/>
                <a:chExt cx="1326026" cy="1277661"/>
              </a:xfrm>
            </p:grpSpPr>
            <p:sp>
              <p:nvSpPr>
                <p:cNvPr id="28" name="Freeform 27"/>
                <p:cNvSpPr/>
                <p:nvPr/>
              </p:nvSpPr>
              <p:spPr bwMode="black">
                <a:xfrm>
                  <a:off x="11525818" y="2868095"/>
                  <a:ext cx="683982" cy="557479"/>
                </a:xfrm>
                <a:custGeom>
                  <a:avLst/>
                  <a:gdLst>
                    <a:gd name="connsiteX0" fmla="*/ 341991 w 683982"/>
                    <a:gd name="connsiteY0" fmla="*/ 0 h 557479"/>
                    <a:gd name="connsiteX1" fmla="*/ 526795 w 683982"/>
                    <a:gd name="connsiteY1" fmla="*/ 184805 h 557479"/>
                    <a:gd name="connsiteX2" fmla="*/ 472667 w 683982"/>
                    <a:gd name="connsiteY2" fmla="*/ 315481 h 557479"/>
                    <a:gd name="connsiteX3" fmla="*/ 445382 w 683982"/>
                    <a:gd name="connsiteY3" fmla="*/ 337994 h 557479"/>
                    <a:gd name="connsiteX4" fmla="*/ 486126 w 683982"/>
                    <a:gd name="connsiteY4" fmla="*/ 350641 h 557479"/>
                    <a:gd name="connsiteX5" fmla="*/ 649044 w 683982"/>
                    <a:gd name="connsiteY5" fmla="*/ 484801 h 557479"/>
                    <a:gd name="connsiteX6" fmla="*/ 683982 w 683982"/>
                    <a:gd name="connsiteY6" fmla="*/ 557479 h 557479"/>
                    <a:gd name="connsiteX7" fmla="*/ 0 w 683982"/>
                    <a:gd name="connsiteY7" fmla="*/ 557479 h 557479"/>
                    <a:gd name="connsiteX8" fmla="*/ 34938 w 683982"/>
                    <a:gd name="connsiteY8" fmla="*/ 484801 h 557479"/>
                    <a:gd name="connsiteX9" fmla="*/ 197856 w 683982"/>
                    <a:gd name="connsiteY9" fmla="*/ 350641 h 557479"/>
                    <a:gd name="connsiteX10" fmla="*/ 238601 w 683982"/>
                    <a:gd name="connsiteY10" fmla="*/ 337994 h 557479"/>
                    <a:gd name="connsiteX11" fmla="*/ 211315 w 683982"/>
                    <a:gd name="connsiteY11" fmla="*/ 315481 h 557479"/>
                    <a:gd name="connsiteX12" fmla="*/ 157187 w 683982"/>
                    <a:gd name="connsiteY12" fmla="*/ 184805 h 557479"/>
                    <a:gd name="connsiteX13" fmla="*/ 341991 w 683982"/>
                    <a:gd name="connsiteY13" fmla="*/ 0 h 5574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683982" h="557479">
                      <a:moveTo>
                        <a:pt x="341991" y="0"/>
                      </a:moveTo>
                      <a:cubicBezTo>
                        <a:pt x="444055" y="0"/>
                        <a:pt x="526795" y="82740"/>
                        <a:pt x="526795" y="184805"/>
                      </a:cubicBezTo>
                      <a:cubicBezTo>
                        <a:pt x="526795" y="235837"/>
                        <a:pt x="506110" y="282038"/>
                        <a:pt x="472667" y="315481"/>
                      </a:cubicBezTo>
                      <a:lnTo>
                        <a:pt x="445382" y="337994"/>
                      </a:lnTo>
                      <a:lnTo>
                        <a:pt x="486126" y="350641"/>
                      </a:lnTo>
                      <a:cubicBezTo>
                        <a:pt x="552578" y="378748"/>
                        <a:pt x="609118" y="425702"/>
                        <a:pt x="649044" y="484801"/>
                      </a:cubicBezTo>
                      <a:lnTo>
                        <a:pt x="683982" y="557479"/>
                      </a:lnTo>
                      <a:lnTo>
                        <a:pt x="0" y="557479"/>
                      </a:lnTo>
                      <a:lnTo>
                        <a:pt x="34938" y="484801"/>
                      </a:lnTo>
                      <a:cubicBezTo>
                        <a:pt x="74865" y="425702"/>
                        <a:pt x="131404" y="378748"/>
                        <a:pt x="197856" y="350641"/>
                      </a:cubicBezTo>
                      <a:lnTo>
                        <a:pt x="238601" y="337994"/>
                      </a:lnTo>
                      <a:lnTo>
                        <a:pt x="211315" y="315481"/>
                      </a:lnTo>
                      <a:cubicBezTo>
                        <a:pt x="177872" y="282038"/>
                        <a:pt x="157187" y="235837"/>
                        <a:pt x="157187" y="184805"/>
                      </a:cubicBezTo>
                      <a:cubicBezTo>
                        <a:pt x="157187" y="82740"/>
                        <a:pt x="239927" y="0"/>
                        <a:pt x="341991" y="0"/>
                      </a:cubicBezTo>
                      <a:close/>
                    </a:path>
                  </a:pathLst>
                </a:custGeom>
                <a:noFill/>
                <a:ln w="22225" cap="rnd" cmpd="sng" algn="ctr">
                  <a:solidFill>
                    <a:srgbClr val="00549E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kern="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29" name="Freeform 28"/>
                <p:cNvSpPr/>
                <p:nvPr/>
              </p:nvSpPr>
              <p:spPr bwMode="black">
                <a:xfrm>
                  <a:off x="10883774" y="3301402"/>
                  <a:ext cx="835202" cy="844354"/>
                </a:xfrm>
                <a:custGeom>
                  <a:avLst/>
                  <a:gdLst>
                    <a:gd name="connsiteX0" fmla="*/ 497270 w 994540"/>
                    <a:gd name="connsiteY0" fmla="*/ 0 h 1005436"/>
                    <a:gd name="connsiteX1" fmla="*/ 745445 w 994540"/>
                    <a:gd name="connsiteY1" fmla="*/ 248175 h 1005436"/>
                    <a:gd name="connsiteX2" fmla="*/ 672756 w 994540"/>
                    <a:gd name="connsiteY2" fmla="*/ 423661 h 1005436"/>
                    <a:gd name="connsiteX3" fmla="*/ 636115 w 994540"/>
                    <a:gd name="connsiteY3" fmla="*/ 453894 h 1005436"/>
                    <a:gd name="connsiteX4" fmla="*/ 690830 w 994540"/>
                    <a:gd name="connsiteY4" fmla="*/ 470878 h 1005436"/>
                    <a:gd name="connsiteX5" fmla="*/ 994540 w 994540"/>
                    <a:gd name="connsiteY5" fmla="*/ 929070 h 1005436"/>
                    <a:gd name="connsiteX6" fmla="*/ 0 w 994540"/>
                    <a:gd name="connsiteY6" fmla="*/ 929070 h 1005436"/>
                    <a:gd name="connsiteX7" fmla="*/ 303710 w 994540"/>
                    <a:gd name="connsiteY7" fmla="*/ 470878 h 1005436"/>
                    <a:gd name="connsiteX8" fmla="*/ 358426 w 994540"/>
                    <a:gd name="connsiteY8" fmla="*/ 453894 h 1005436"/>
                    <a:gd name="connsiteX9" fmla="*/ 321784 w 994540"/>
                    <a:gd name="connsiteY9" fmla="*/ 423661 h 1005436"/>
                    <a:gd name="connsiteX10" fmla="*/ 249095 w 994540"/>
                    <a:gd name="connsiteY10" fmla="*/ 248175 h 1005436"/>
                    <a:gd name="connsiteX11" fmla="*/ 497270 w 994540"/>
                    <a:gd name="connsiteY11" fmla="*/ 0 h 10054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994540" h="1005436">
                      <a:moveTo>
                        <a:pt x="497270" y="0"/>
                      </a:moveTo>
                      <a:cubicBezTo>
                        <a:pt x="634333" y="0"/>
                        <a:pt x="745445" y="111112"/>
                        <a:pt x="745445" y="248175"/>
                      </a:cubicBezTo>
                      <a:cubicBezTo>
                        <a:pt x="745445" y="316706"/>
                        <a:pt x="717667" y="378750"/>
                        <a:pt x="672756" y="423661"/>
                      </a:cubicBezTo>
                      <a:lnTo>
                        <a:pt x="636115" y="453894"/>
                      </a:lnTo>
                      <a:lnTo>
                        <a:pt x="690830" y="470878"/>
                      </a:lnTo>
                      <a:cubicBezTo>
                        <a:pt x="869308" y="546368"/>
                        <a:pt x="994540" y="723094"/>
                        <a:pt x="994540" y="929070"/>
                      </a:cubicBezTo>
                      <a:cubicBezTo>
                        <a:pt x="685252" y="1040195"/>
                        <a:pt x="306113" y="1021145"/>
                        <a:pt x="0" y="929070"/>
                      </a:cubicBezTo>
                      <a:cubicBezTo>
                        <a:pt x="0" y="723094"/>
                        <a:pt x="125232" y="546368"/>
                        <a:pt x="303710" y="470878"/>
                      </a:cubicBezTo>
                      <a:lnTo>
                        <a:pt x="358426" y="453894"/>
                      </a:lnTo>
                      <a:lnTo>
                        <a:pt x="321784" y="423661"/>
                      </a:lnTo>
                      <a:cubicBezTo>
                        <a:pt x="276873" y="378750"/>
                        <a:pt x="249095" y="316706"/>
                        <a:pt x="249095" y="248175"/>
                      </a:cubicBezTo>
                      <a:cubicBezTo>
                        <a:pt x="249095" y="111112"/>
                        <a:pt x="360207" y="0"/>
                        <a:pt x="497270" y="0"/>
                      </a:cubicBezTo>
                      <a:close/>
                    </a:path>
                  </a:pathLst>
                </a:custGeom>
                <a:noFill/>
                <a:ln w="22225" cap="rnd" cmpd="sng" algn="ctr">
                  <a:solidFill>
                    <a:srgbClr val="00549E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lnSpc>
                      <a:spcPct val="90000"/>
                    </a:lnSpc>
                    <a:defRPr/>
                  </a:pPr>
                  <a:endParaRPr kern="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</p:grpSp>
        </p:grpSp>
        <p:sp>
          <p:nvSpPr>
            <p:cNvPr id="24" name="Freeform 23"/>
            <p:cNvSpPr/>
            <p:nvPr/>
          </p:nvSpPr>
          <p:spPr>
            <a:xfrm>
              <a:off x="966788" y="4095750"/>
              <a:ext cx="338137" cy="152400"/>
            </a:xfrm>
            <a:custGeom>
              <a:avLst/>
              <a:gdLst>
                <a:gd name="connsiteX0" fmla="*/ 0 w 338137"/>
                <a:gd name="connsiteY0" fmla="*/ 0 h 152400"/>
                <a:gd name="connsiteX1" fmla="*/ 338137 w 338137"/>
                <a:gd name="connsiteY1" fmla="*/ 0 h 152400"/>
                <a:gd name="connsiteX2" fmla="*/ 107156 w 338137"/>
                <a:gd name="connsiteY2" fmla="*/ 152400 h 152400"/>
                <a:gd name="connsiteX3" fmla="*/ 57150 w 338137"/>
                <a:gd name="connsiteY3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8137" h="152400">
                  <a:moveTo>
                    <a:pt x="0" y="0"/>
                  </a:moveTo>
                  <a:lnTo>
                    <a:pt x="338137" y="0"/>
                  </a:lnTo>
                  <a:lnTo>
                    <a:pt x="107156" y="152400"/>
                  </a:lnTo>
                  <a:lnTo>
                    <a:pt x="57150" y="152400"/>
                  </a:lnTo>
                </a:path>
              </a:pathLst>
            </a:custGeom>
            <a:noFill/>
            <a:ln w="22225" cap="rnd" cmpd="sng" algn="ctr">
              <a:solidFill>
                <a:srgbClr val="00549E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kern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5" name="Freeform 24"/>
            <p:cNvSpPr/>
            <p:nvPr/>
          </p:nvSpPr>
          <p:spPr>
            <a:xfrm>
              <a:off x="667272" y="4133850"/>
              <a:ext cx="161925" cy="114300"/>
            </a:xfrm>
            <a:custGeom>
              <a:avLst/>
              <a:gdLst>
                <a:gd name="connsiteX0" fmla="*/ 104775 w 161925"/>
                <a:gd name="connsiteY0" fmla="*/ 114300 h 114300"/>
                <a:gd name="connsiteX1" fmla="*/ 0 w 161925"/>
                <a:gd name="connsiteY1" fmla="*/ 114300 h 114300"/>
                <a:gd name="connsiteX2" fmla="*/ 161925 w 161925"/>
                <a:gd name="connsiteY2" fmla="*/ 0 h 11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1925" h="114300">
                  <a:moveTo>
                    <a:pt x="104775" y="114300"/>
                  </a:moveTo>
                  <a:lnTo>
                    <a:pt x="0" y="114300"/>
                  </a:lnTo>
                  <a:lnTo>
                    <a:pt x="161925" y="0"/>
                  </a:lnTo>
                </a:path>
              </a:pathLst>
            </a:custGeom>
            <a:noFill/>
            <a:ln w="22225" cap="rnd" cmpd="sng" algn="ctr">
              <a:solidFill>
                <a:srgbClr val="00549E"/>
              </a:solidFill>
              <a:prstDash val="solid"/>
              <a:round/>
            </a:ln>
            <a:effectLst/>
          </p:spPr>
          <p:txBody>
            <a:bodyPr rtlCol="0" anchor="ctr"/>
            <a:lstStyle/>
            <a:p>
              <a:pPr algn="ctr">
                <a:lnSpc>
                  <a:spcPct val="90000"/>
                </a:lnSpc>
                <a:defRPr/>
              </a:pPr>
              <a:endParaRPr lang="en-US" kern="0">
                <a:solidFill>
                  <a:prstClr val="white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47074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ctivity Instru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/>
          <p:cNvSpPr txBox="1">
            <a:spLocks/>
          </p:cNvSpPr>
          <p:nvPr/>
        </p:nvSpPr>
        <p:spPr>
          <a:xfrm>
            <a:off x="9742889" y="2597150"/>
            <a:ext cx="2073524" cy="29845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Clr>
                <a:prstClr val="black"/>
              </a:buClr>
            </a:pPr>
            <a:r>
              <a:rPr lang="en-US" sz="2100">
                <a:solidFill>
                  <a:prstClr val="black"/>
                </a:solidFill>
              </a:rPr>
              <a:t>Total time:</a:t>
            </a:r>
            <a:endParaRPr lang="en-US" sz="2100" b="1">
              <a:solidFill>
                <a:srgbClr val="10CF9B"/>
              </a:solidFill>
            </a:endParaRPr>
          </a:p>
        </p:txBody>
      </p:sp>
      <p:sp>
        <p:nvSpPr>
          <p:cNvPr id="4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[Activity instructions]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24419" y="1524000"/>
            <a:ext cx="7300381" cy="4497389"/>
          </a:xfrm>
        </p:spPr>
        <p:txBody>
          <a:bodyPr/>
          <a:lstStyle>
            <a:lvl1pPr marL="342886" indent="-342886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  <a:defRPr sz="2100"/>
            </a:lvl1pPr>
            <a:lvl2pPr marL="700060" indent="-342886">
              <a:buFont typeface="+mj-lt"/>
              <a:buAutoNum type="arabicPeriod"/>
              <a:defRPr sz="1800"/>
            </a:lvl2pPr>
            <a:lvl3pPr marL="966749" indent="-342886">
              <a:buFont typeface="+mj-lt"/>
              <a:buAutoNum type="arabicPeriod"/>
              <a:defRPr sz="1500"/>
            </a:lvl3pPr>
            <a:lvl4pPr>
              <a:buFont typeface="+mj-lt"/>
              <a:buAutoNum type="arabicPeriod"/>
              <a:defRPr sz="1400"/>
            </a:lvl4pPr>
            <a:lvl5pPr>
              <a:buFont typeface="+mj-lt"/>
              <a:buAutoNum type="arabicPeriod"/>
              <a:defRPr sz="1400"/>
            </a:lvl5pPr>
          </a:lstStyle>
          <a:p>
            <a:pPr lvl="0"/>
            <a:r>
              <a:rPr lang="en-US"/>
              <a:t>[Insert step]</a:t>
            </a:r>
            <a:endParaRPr lang="en-GB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9952143" y="2900680"/>
            <a:ext cx="1665183" cy="377190"/>
          </a:xfrm>
        </p:spPr>
        <p:txBody>
          <a:bodyPr wrap="none" anchor="t">
            <a:noAutofit/>
          </a:bodyPr>
          <a:lstStyle>
            <a:lvl1pPr marL="0" indent="0" algn="ctr">
              <a:spcBef>
                <a:spcPts val="0"/>
              </a:spcBef>
              <a:buNone/>
              <a:defRPr sz="2100" b="1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XX minutes</a:t>
            </a:r>
          </a:p>
        </p:txBody>
      </p:sp>
      <p:grpSp>
        <p:nvGrpSpPr>
          <p:cNvPr id="18" name="Stopwatch"/>
          <p:cNvGrpSpPr/>
          <p:nvPr userDrawn="1"/>
        </p:nvGrpSpPr>
        <p:grpSpPr>
          <a:xfrm>
            <a:off x="10419329" y="1551316"/>
            <a:ext cx="766423" cy="766422"/>
            <a:chOff x="7113229" y="3790352"/>
            <a:chExt cx="766422" cy="766422"/>
          </a:xfrm>
        </p:grpSpPr>
        <p:sp>
          <p:nvSpPr>
            <p:cNvPr id="19" name="Oval 18"/>
            <p:cNvSpPr/>
            <p:nvPr/>
          </p:nvSpPr>
          <p:spPr bwMode="auto">
            <a:xfrm>
              <a:off x="7113229" y="37903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0" name="Group 19"/>
            <p:cNvGrpSpPr/>
            <p:nvPr/>
          </p:nvGrpSpPr>
          <p:grpSpPr>
            <a:xfrm>
              <a:off x="7275459" y="3886586"/>
              <a:ext cx="443873" cy="545379"/>
              <a:chOff x="5020705" y="3838058"/>
              <a:chExt cx="557977" cy="685577"/>
            </a:xfrm>
            <a:solidFill>
              <a:schemeClr val="accent2"/>
            </a:solidFill>
          </p:grpSpPr>
          <p:sp>
            <p:nvSpPr>
              <p:cNvPr id="21" name="Freeform 338"/>
              <p:cNvSpPr>
                <a:spLocks noEditPoints="1"/>
              </p:cNvSpPr>
              <p:nvPr/>
            </p:nvSpPr>
            <p:spPr bwMode="auto">
              <a:xfrm>
                <a:off x="5236975" y="4028376"/>
                <a:ext cx="125437" cy="278989"/>
              </a:xfrm>
              <a:custGeom>
                <a:avLst/>
                <a:gdLst>
                  <a:gd name="T0" fmla="*/ 24 w 40"/>
                  <a:gd name="T1" fmla="*/ 48 h 88"/>
                  <a:gd name="T2" fmla="*/ 24 w 40"/>
                  <a:gd name="T3" fmla="*/ 4 h 88"/>
                  <a:gd name="T4" fmla="*/ 20 w 40"/>
                  <a:gd name="T5" fmla="*/ 0 h 88"/>
                  <a:gd name="T6" fmla="*/ 16 w 40"/>
                  <a:gd name="T7" fmla="*/ 4 h 88"/>
                  <a:gd name="T8" fmla="*/ 16 w 40"/>
                  <a:gd name="T9" fmla="*/ 48 h 88"/>
                  <a:gd name="T10" fmla="*/ 0 w 40"/>
                  <a:gd name="T11" fmla="*/ 68 h 88"/>
                  <a:gd name="T12" fmla="*/ 20 w 40"/>
                  <a:gd name="T13" fmla="*/ 88 h 88"/>
                  <a:gd name="T14" fmla="*/ 40 w 40"/>
                  <a:gd name="T15" fmla="*/ 68 h 88"/>
                  <a:gd name="T16" fmla="*/ 24 w 40"/>
                  <a:gd name="T17" fmla="*/ 48 h 88"/>
                  <a:gd name="T18" fmla="*/ 20 w 40"/>
                  <a:gd name="T19" fmla="*/ 80 h 88"/>
                  <a:gd name="T20" fmla="*/ 8 w 40"/>
                  <a:gd name="T21" fmla="*/ 68 h 88"/>
                  <a:gd name="T22" fmla="*/ 20 w 40"/>
                  <a:gd name="T23" fmla="*/ 56 h 88"/>
                  <a:gd name="T24" fmla="*/ 32 w 40"/>
                  <a:gd name="T25" fmla="*/ 68 h 88"/>
                  <a:gd name="T26" fmla="*/ 20 w 40"/>
                  <a:gd name="T27" fmla="*/ 80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0" h="88">
                    <a:moveTo>
                      <a:pt x="24" y="48"/>
                    </a:moveTo>
                    <a:cubicBezTo>
                      <a:pt x="24" y="4"/>
                      <a:pt x="24" y="4"/>
                      <a:pt x="24" y="4"/>
                    </a:cubicBezTo>
                    <a:cubicBezTo>
                      <a:pt x="24" y="2"/>
                      <a:pt x="22" y="0"/>
                      <a:pt x="20" y="0"/>
                    </a:cubicBezTo>
                    <a:cubicBezTo>
                      <a:pt x="18" y="0"/>
                      <a:pt x="16" y="2"/>
                      <a:pt x="16" y="4"/>
                    </a:cubicBezTo>
                    <a:cubicBezTo>
                      <a:pt x="16" y="48"/>
                      <a:pt x="16" y="48"/>
                      <a:pt x="16" y="48"/>
                    </a:cubicBezTo>
                    <a:cubicBezTo>
                      <a:pt x="7" y="50"/>
                      <a:pt x="0" y="58"/>
                      <a:pt x="0" y="68"/>
                    </a:cubicBezTo>
                    <a:cubicBezTo>
                      <a:pt x="0" y="79"/>
                      <a:pt x="9" y="88"/>
                      <a:pt x="20" y="88"/>
                    </a:cubicBezTo>
                    <a:cubicBezTo>
                      <a:pt x="31" y="88"/>
                      <a:pt x="40" y="79"/>
                      <a:pt x="40" y="68"/>
                    </a:cubicBezTo>
                    <a:cubicBezTo>
                      <a:pt x="40" y="58"/>
                      <a:pt x="33" y="50"/>
                      <a:pt x="24" y="48"/>
                    </a:cubicBezTo>
                    <a:close/>
                    <a:moveTo>
                      <a:pt x="20" y="80"/>
                    </a:moveTo>
                    <a:cubicBezTo>
                      <a:pt x="13" y="80"/>
                      <a:pt x="8" y="75"/>
                      <a:pt x="8" y="68"/>
                    </a:cubicBezTo>
                    <a:cubicBezTo>
                      <a:pt x="8" y="61"/>
                      <a:pt x="13" y="56"/>
                      <a:pt x="20" y="56"/>
                    </a:cubicBezTo>
                    <a:cubicBezTo>
                      <a:pt x="27" y="56"/>
                      <a:pt x="32" y="61"/>
                      <a:pt x="32" y="68"/>
                    </a:cubicBezTo>
                    <a:cubicBezTo>
                      <a:pt x="32" y="75"/>
                      <a:pt x="27" y="80"/>
                      <a:pt x="20" y="8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339"/>
              <p:cNvSpPr>
                <a:spLocks noEditPoints="1"/>
              </p:cNvSpPr>
              <p:nvPr/>
            </p:nvSpPr>
            <p:spPr bwMode="auto">
              <a:xfrm>
                <a:off x="5020705" y="3959169"/>
                <a:ext cx="557977" cy="564466"/>
              </a:xfrm>
              <a:custGeom>
                <a:avLst/>
                <a:gdLst>
                  <a:gd name="T0" fmla="*/ 158 w 176"/>
                  <a:gd name="T1" fmla="*/ 37 h 178"/>
                  <a:gd name="T2" fmla="*/ 159 w 176"/>
                  <a:gd name="T3" fmla="*/ 37 h 178"/>
                  <a:gd name="T4" fmla="*/ 169 w 176"/>
                  <a:gd name="T5" fmla="*/ 26 h 178"/>
                  <a:gd name="T6" fmla="*/ 169 w 176"/>
                  <a:gd name="T7" fmla="*/ 10 h 178"/>
                  <a:gd name="T8" fmla="*/ 164 w 176"/>
                  <a:gd name="T9" fmla="*/ 5 h 178"/>
                  <a:gd name="T10" fmla="*/ 148 w 176"/>
                  <a:gd name="T11" fmla="*/ 5 h 178"/>
                  <a:gd name="T12" fmla="*/ 137 w 176"/>
                  <a:gd name="T13" fmla="*/ 15 h 178"/>
                  <a:gd name="T14" fmla="*/ 136 w 176"/>
                  <a:gd name="T15" fmla="*/ 16 h 178"/>
                  <a:gd name="T16" fmla="*/ 88 w 176"/>
                  <a:gd name="T17" fmla="*/ 2 h 178"/>
                  <a:gd name="T18" fmla="*/ 0 w 176"/>
                  <a:gd name="T19" fmla="*/ 90 h 178"/>
                  <a:gd name="T20" fmla="*/ 88 w 176"/>
                  <a:gd name="T21" fmla="*/ 178 h 178"/>
                  <a:gd name="T22" fmla="*/ 176 w 176"/>
                  <a:gd name="T23" fmla="*/ 90 h 178"/>
                  <a:gd name="T24" fmla="*/ 158 w 176"/>
                  <a:gd name="T25" fmla="*/ 37 h 178"/>
                  <a:gd name="T26" fmla="*/ 143 w 176"/>
                  <a:gd name="T27" fmla="*/ 21 h 178"/>
                  <a:gd name="T28" fmla="*/ 153 w 176"/>
                  <a:gd name="T29" fmla="*/ 10 h 178"/>
                  <a:gd name="T30" fmla="*/ 159 w 176"/>
                  <a:gd name="T31" fmla="*/ 10 h 178"/>
                  <a:gd name="T32" fmla="*/ 164 w 176"/>
                  <a:gd name="T33" fmla="*/ 15 h 178"/>
                  <a:gd name="T34" fmla="*/ 164 w 176"/>
                  <a:gd name="T35" fmla="*/ 21 h 178"/>
                  <a:gd name="T36" fmla="*/ 153 w 176"/>
                  <a:gd name="T37" fmla="*/ 31 h 178"/>
                  <a:gd name="T38" fmla="*/ 143 w 176"/>
                  <a:gd name="T39" fmla="*/ 21 h 178"/>
                  <a:gd name="T40" fmla="*/ 143 w 176"/>
                  <a:gd name="T41" fmla="*/ 21 h 178"/>
                  <a:gd name="T42" fmla="*/ 88 w 176"/>
                  <a:gd name="T43" fmla="*/ 170 h 178"/>
                  <a:gd name="T44" fmla="*/ 8 w 176"/>
                  <a:gd name="T45" fmla="*/ 90 h 178"/>
                  <a:gd name="T46" fmla="*/ 88 w 176"/>
                  <a:gd name="T47" fmla="*/ 10 h 178"/>
                  <a:gd name="T48" fmla="*/ 168 w 176"/>
                  <a:gd name="T49" fmla="*/ 90 h 178"/>
                  <a:gd name="T50" fmla="*/ 88 w 176"/>
                  <a:gd name="T51" fmla="*/ 170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6" h="178">
                    <a:moveTo>
                      <a:pt x="158" y="37"/>
                    </a:moveTo>
                    <a:cubicBezTo>
                      <a:pt x="158" y="37"/>
                      <a:pt x="159" y="37"/>
                      <a:pt x="159" y="37"/>
                    </a:cubicBezTo>
                    <a:cubicBezTo>
                      <a:pt x="169" y="26"/>
                      <a:pt x="169" y="26"/>
                      <a:pt x="169" y="26"/>
                    </a:cubicBezTo>
                    <a:cubicBezTo>
                      <a:pt x="174" y="22"/>
                      <a:pt x="174" y="14"/>
                      <a:pt x="169" y="10"/>
                    </a:cubicBezTo>
                    <a:cubicBezTo>
                      <a:pt x="164" y="5"/>
                      <a:pt x="164" y="5"/>
                      <a:pt x="164" y="5"/>
                    </a:cubicBezTo>
                    <a:cubicBezTo>
                      <a:pt x="160" y="0"/>
                      <a:pt x="152" y="0"/>
                      <a:pt x="148" y="5"/>
                    </a:cubicBezTo>
                    <a:cubicBezTo>
                      <a:pt x="137" y="15"/>
                      <a:pt x="137" y="15"/>
                      <a:pt x="137" y="15"/>
                    </a:cubicBezTo>
                    <a:cubicBezTo>
                      <a:pt x="137" y="16"/>
                      <a:pt x="136" y="16"/>
                      <a:pt x="136" y="16"/>
                    </a:cubicBezTo>
                    <a:cubicBezTo>
                      <a:pt x="122" y="7"/>
                      <a:pt x="106" y="2"/>
                      <a:pt x="88" y="2"/>
                    </a:cubicBezTo>
                    <a:cubicBezTo>
                      <a:pt x="39" y="2"/>
                      <a:pt x="0" y="41"/>
                      <a:pt x="0" y="90"/>
                    </a:cubicBezTo>
                    <a:cubicBezTo>
                      <a:pt x="0" y="139"/>
                      <a:pt x="39" y="178"/>
                      <a:pt x="88" y="178"/>
                    </a:cubicBezTo>
                    <a:cubicBezTo>
                      <a:pt x="137" y="178"/>
                      <a:pt x="176" y="139"/>
                      <a:pt x="176" y="90"/>
                    </a:cubicBezTo>
                    <a:cubicBezTo>
                      <a:pt x="176" y="70"/>
                      <a:pt x="169" y="52"/>
                      <a:pt x="158" y="37"/>
                    </a:cubicBezTo>
                    <a:close/>
                    <a:moveTo>
                      <a:pt x="143" y="21"/>
                    </a:moveTo>
                    <a:cubicBezTo>
                      <a:pt x="153" y="10"/>
                      <a:pt x="153" y="10"/>
                      <a:pt x="153" y="10"/>
                    </a:cubicBezTo>
                    <a:cubicBezTo>
                      <a:pt x="155" y="9"/>
                      <a:pt x="157" y="9"/>
                      <a:pt x="159" y="10"/>
                    </a:cubicBezTo>
                    <a:cubicBezTo>
                      <a:pt x="164" y="15"/>
                      <a:pt x="164" y="15"/>
                      <a:pt x="164" y="15"/>
                    </a:cubicBezTo>
                    <a:cubicBezTo>
                      <a:pt x="165" y="17"/>
                      <a:pt x="165" y="19"/>
                      <a:pt x="164" y="21"/>
                    </a:cubicBezTo>
                    <a:cubicBezTo>
                      <a:pt x="153" y="31"/>
                      <a:pt x="153" y="31"/>
                      <a:pt x="153" y="31"/>
                    </a:cubicBezTo>
                    <a:cubicBezTo>
                      <a:pt x="150" y="27"/>
                      <a:pt x="146" y="24"/>
                      <a:pt x="143" y="21"/>
                    </a:cubicBezTo>
                    <a:cubicBezTo>
                      <a:pt x="143" y="21"/>
                      <a:pt x="143" y="21"/>
                      <a:pt x="143" y="21"/>
                    </a:cubicBezTo>
                    <a:close/>
                    <a:moveTo>
                      <a:pt x="88" y="170"/>
                    </a:moveTo>
                    <a:cubicBezTo>
                      <a:pt x="44" y="170"/>
                      <a:pt x="8" y="134"/>
                      <a:pt x="8" y="90"/>
                    </a:cubicBezTo>
                    <a:cubicBezTo>
                      <a:pt x="8" y="46"/>
                      <a:pt x="44" y="10"/>
                      <a:pt x="88" y="10"/>
                    </a:cubicBezTo>
                    <a:cubicBezTo>
                      <a:pt x="132" y="10"/>
                      <a:pt x="168" y="46"/>
                      <a:pt x="168" y="90"/>
                    </a:cubicBezTo>
                    <a:cubicBezTo>
                      <a:pt x="168" y="134"/>
                      <a:pt x="132" y="170"/>
                      <a:pt x="88" y="17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3" name="Freeform 340"/>
              <p:cNvSpPr>
                <a:spLocks noEditPoints="1"/>
              </p:cNvSpPr>
              <p:nvPr/>
            </p:nvSpPr>
            <p:spPr bwMode="auto">
              <a:xfrm>
                <a:off x="5211023" y="3838058"/>
                <a:ext cx="177342" cy="101648"/>
              </a:xfrm>
              <a:custGeom>
                <a:avLst/>
                <a:gdLst>
                  <a:gd name="T0" fmla="*/ 12 w 56"/>
                  <a:gd name="T1" fmla="*/ 32 h 32"/>
                  <a:gd name="T2" fmla="*/ 44 w 56"/>
                  <a:gd name="T3" fmla="*/ 32 h 32"/>
                  <a:gd name="T4" fmla="*/ 44 w 56"/>
                  <a:gd name="T5" fmla="*/ 32 h 32"/>
                  <a:gd name="T6" fmla="*/ 56 w 56"/>
                  <a:gd name="T7" fmla="*/ 20 h 32"/>
                  <a:gd name="T8" fmla="*/ 56 w 56"/>
                  <a:gd name="T9" fmla="*/ 16 h 32"/>
                  <a:gd name="T10" fmla="*/ 45 w 56"/>
                  <a:gd name="T11" fmla="*/ 2 h 32"/>
                  <a:gd name="T12" fmla="*/ 11 w 56"/>
                  <a:gd name="T13" fmla="*/ 2 h 32"/>
                  <a:gd name="T14" fmla="*/ 0 w 56"/>
                  <a:gd name="T15" fmla="*/ 16 h 32"/>
                  <a:gd name="T16" fmla="*/ 0 w 56"/>
                  <a:gd name="T17" fmla="*/ 20 h 32"/>
                  <a:gd name="T18" fmla="*/ 12 w 56"/>
                  <a:gd name="T19" fmla="*/ 32 h 32"/>
                  <a:gd name="T20" fmla="*/ 8 w 56"/>
                  <a:gd name="T21" fmla="*/ 16 h 32"/>
                  <a:gd name="T22" fmla="*/ 13 w 56"/>
                  <a:gd name="T23" fmla="*/ 10 h 32"/>
                  <a:gd name="T24" fmla="*/ 28 w 56"/>
                  <a:gd name="T25" fmla="*/ 8 h 32"/>
                  <a:gd name="T26" fmla="*/ 43 w 56"/>
                  <a:gd name="T27" fmla="*/ 10 h 32"/>
                  <a:gd name="T28" fmla="*/ 48 w 56"/>
                  <a:gd name="T29" fmla="*/ 16 h 32"/>
                  <a:gd name="T30" fmla="*/ 48 w 56"/>
                  <a:gd name="T31" fmla="*/ 20 h 32"/>
                  <a:gd name="T32" fmla="*/ 44 w 56"/>
                  <a:gd name="T33" fmla="*/ 24 h 32"/>
                  <a:gd name="T34" fmla="*/ 12 w 56"/>
                  <a:gd name="T35" fmla="*/ 24 h 32"/>
                  <a:gd name="T36" fmla="*/ 8 w 56"/>
                  <a:gd name="T37" fmla="*/ 20 h 32"/>
                  <a:gd name="T38" fmla="*/ 8 w 56"/>
                  <a:gd name="T39" fmla="*/ 16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6" h="32">
                    <a:moveTo>
                      <a:pt x="12" y="32"/>
                    </a:moveTo>
                    <a:cubicBezTo>
                      <a:pt x="44" y="32"/>
                      <a:pt x="44" y="32"/>
                      <a:pt x="44" y="32"/>
                    </a:cubicBezTo>
                    <a:cubicBezTo>
                      <a:pt x="44" y="32"/>
                      <a:pt x="44" y="32"/>
                      <a:pt x="44" y="32"/>
                    </a:cubicBezTo>
                    <a:cubicBezTo>
                      <a:pt x="51" y="32"/>
                      <a:pt x="56" y="26"/>
                      <a:pt x="56" y="20"/>
                    </a:cubicBezTo>
                    <a:cubicBezTo>
                      <a:pt x="56" y="16"/>
                      <a:pt x="56" y="16"/>
                      <a:pt x="56" y="16"/>
                    </a:cubicBezTo>
                    <a:cubicBezTo>
                      <a:pt x="56" y="10"/>
                      <a:pt x="51" y="3"/>
                      <a:pt x="45" y="2"/>
                    </a:cubicBezTo>
                    <a:cubicBezTo>
                      <a:pt x="34" y="0"/>
                      <a:pt x="22" y="0"/>
                      <a:pt x="11" y="2"/>
                    </a:cubicBezTo>
                    <a:cubicBezTo>
                      <a:pt x="5" y="3"/>
                      <a:pt x="0" y="10"/>
                      <a:pt x="0" y="16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26"/>
                      <a:pt x="5" y="32"/>
                      <a:pt x="12" y="32"/>
                    </a:cubicBezTo>
                    <a:close/>
                    <a:moveTo>
                      <a:pt x="8" y="16"/>
                    </a:moveTo>
                    <a:cubicBezTo>
                      <a:pt x="8" y="13"/>
                      <a:pt x="10" y="10"/>
                      <a:pt x="13" y="10"/>
                    </a:cubicBezTo>
                    <a:cubicBezTo>
                      <a:pt x="18" y="9"/>
                      <a:pt x="23" y="8"/>
                      <a:pt x="28" y="8"/>
                    </a:cubicBezTo>
                    <a:cubicBezTo>
                      <a:pt x="33" y="8"/>
                      <a:pt x="38" y="9"/>
                      <a:pt x="43" y="10"/>
                    </a:cubicBezTo>
                    <a:cubicBezTo>
                      <a:pt x="46" y="10"/>
                      <a:pt x="48" y="13"/>
                      <a:pt x="48" y="16"/>
                    </a:cubicBezTo>
                    <a:cubicBezTo>
                      <a:pt x="48" y="20"/>
                      <a:pt x="48" y="20"/>
                      <a:pt x="48" y="20"/>
                    </a:cubicBezTo>
                    <a:cubicBezTo>
                      <a:pt x="48" y="22"/>
                      <a:pt x="46" y="24"/>
                      <a:pt x="44" y="24"/>
                    </a:cubicBezTo>
                    <a:cubicBezTo>
                      <a:pt x="12" y="24"/>
                      <a:pt x="12" y="24"/>
                      <a:pt x="12" y="24"/>
                    </a:cubicBezTo>
                    <a:cubicBezTo>
                      <a:pt x="10" y="24"/>
                      <a:pt x="8" y="22"/>
                      <a:pt x="8" y="20"/>
                    </a:cubicBezTo>
                    <a:lnTo>
                      <a:pt x="8" y="1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341"/>
              <p:cNvSpPr>
                <a:spLocks/>
              </p:cNvSpPr>
              <p:nvPr/>
            </p:nvSpPr>
            <p:spPr bwMode="auto">
              <a:xfrm>
                <a:off x="5072610" y="4231670"/>
                <a:ext cx="49743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342"/>
              <p:cNvSpPr>
                <a:spLocks/>
              </p:cNvSpPr>
              <p:nvPr/>
            </p:nvSpPr>
            <p:spPr bwMode="auto">
              <a:xfrm>
                <a:off x="5477034" y="4231670"/>
                <a:ext cx="51905" cy="25952"/>
              </a:xfrm>
              <a:custGeom>
                <a:avLst/>
                <a:gdLst>
                  <a:gd name="T0" fmla="*/ 12 w 16"/>
                  <a:gd name="T1" fmla="*/ 0 h 8"/>
                  <a:gd name="T2" fmla="*/ 4 w 16"/>
                  <a:gd name="T3" fmla="*/ 0 h 8"/>
                  <a:gd name="T4" fmla="*/ 0 w 16"/>
                  <a:gd name="T5" fmla="*/ 4 h 8"/>
                  <a:gd name="T6" fmla="*/ 4 w 16"/>
                  <a:gd name="T7" fmla="*/ 8 h 8"/>
                  <a:gd name="T8" fmla="*/ 12 w 16"/>
                  <a:gd name="T9" fmla="*/ 8 h 8"/>
                  <a:gd name="T10" fmla="*/ 16 w 16"/>
                  <a:gd name="T11" fmla="*/ 4 h 8"/>
                  <a:gd name="T12" fmla="*/ 12 w 16"/>
                  <a:gd name="T13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6" h="8">
                    <a:moveTo>
                      <a:pt x="12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6"/>
                      <a:pt x="2" y="8"/>
                      <a:pt x="4" y="8"/>
                    </a:cubicBezTo>
                    <a:cubicBezTo>
                      <a:pt x="12" y="8"/>
                      <a:pt x="12" y="8"/>
                      <a:pt x="12" y="8"/>
                    </a:cubicBezTo>
                    <a:cubicBezTo>
                      <a:pt x="14" y="8"/>
                      <a:pt x="16" y="6"/>
                      <a:pt x="16" y="4"/>
                    </a:cubicBezTo>
                    <a:cubicBezTo>
                      <a:pt x="16" y="2"/>
                      <a:pt x="14" y="0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343"/>
              <p:cNvSpPr>
                <a:spLocks/>
              </p:cNvSpPr>
              <p:nvPr/>
            </p:nvSpPr>
            <p:spPr bwMode="auto">
              <a:xfrm>
                <a:off x="5286717" y="4421987"/>
                <a:ext cx="25952" cy="51905"/>
              </a:xfrm>
              <a:custGeom>
                <a:avLst/>
                <a:gdLst>
                  <a:gd name="T0" fmla="*/ 4 w 8"/>
                  <a:gd name="T1" fmla="*/ 0 h 16"/>
                  <a:gd name="T2" fmla="*/ 0 w 8"/>
                  <a:gd name="T3" fmla="*/ 4 h 16"/>
                  <a:gd name="T4" fmla="*/ 0 w 8"/>
                  <a:gd name="T5" fmla="*/ 12 h 16"/>
                  <a:gd name="T6" fmla="*/ 4 w 8"/>
                  <a:gd name="T7" fmla="*/ 16 h 16"/>
                  <a:gd name="T8" fmla="*/ 8 w 8"/>
                  <a:gd name="T9" fmla="*/ 12 h 16"/>
                  <a:gd name="T10" fmla="*/ 8 w 8"/>
                  <a:gd name="T11" fmla="*/ 4 h 16"/>
                  <a:gd name="T12" fmla="*/ 4 w 8"/>
                  <a:gd name="T1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16">
                    <a:moveTo>
                      <a:pt x="4" y="0"/>
                    </a:moveTo>
                    <a:cubicBezTo>
                      <a:pt x="2" y="0"/>
                      <a:pt x="0" y="2"/>
                      <a:pt x="0" y="4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2" y="16"/>
                      <a:pt x="4" y="16"/>
                    </a:cubicBezTo>
                    <a:cubicBezTo>
                      <a:pt x="6" y="16"/>
                      <a:pt x="8" y="14"/>
                      <a:pt x="8" y="12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2"/>
                      <a:pt x="6" y="0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prstClr val="black"/>
                  </a:solidFill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28" name="Picture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044099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brief 2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210050"/>
          </a:xfrm>
          <a:prstGeom prst="rect">
            <a:avLst/>
          </a:prstGeom>
        </p:spPr>
      </p:pic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5028406"/>
            <a:ext cx="9144000" cy="1524794"/>
          </a:xfrm>
        </p:spPr>
        <p:txBody>
          <a:bodyPr wrap="square" anchor="t">
            <a:noAutofit/>
          </a:bodyPr>
          <a:lstStyle>
            <a:lvl1pPr marL="0" indent="0">
              <a:spcBef>
                <a:spcPts val="300"/>
              </a:spcBef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r>
              <a:rPr lang="en-US" sz="2400"/>
              <a:t>[Type the questions you want participants to answer during the debrief]</a:t>
            </a:r>
          </a:p>
        </p:txBody>
      </p:sp>
      <p:sp>
        <p:nvSpPr>
          <p:cNvPr id="12" name="Rectangle 11"/>
          <p:cNvSpPr/>
          <p:nvPr/>
        </p:nvSpPr>
        <p:spPr bwMode="ltGray">
          <a:xfrm>
            <a:off x="0" y="3907081"/>
            <a:ext cx="3962400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0" y="3889828"/>
            <a:ext cx="38862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/>
                </a:solidFill>
              </a:rPr>
              <a:t>Product Updates</a:t>
            </a:r>
          </a:p>
        </p:txBody>
      </p:sp>
    </p:spTree>
    <p:extLst>
      <p:ext uri="{BB962C8B-B14F-4D97-AF65-F5344CB8AC3E}">
        <p14:creationId xmlns:p14="http://schemas.microsoft.com/office/powerpoint/2010/main" val="32532193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&amp;A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itle 2"/>
          <p:cNvSpPr txBox="1">
            <a:spLocks/>
          </p:cNvSpPr>
          <p:nvPr/>
        </p:nvSpPr>
        <p:spPr>
          <a:xfrm>
            <a:off x="4400669" y="2421782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Q&amp;A</a:t>
            </a:r>
          </a:p>
        </p:txBody>
      </p:sp>
      <p:sp>
        <p:nvSpPr>
          <p:cNvPr id="2" name="Oval 1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4" name="Raise hand"/>
          <p:cNvGrpSpPr/>
          <p:nvPr userDrawn="1"/>
        </p:nvGrpSpPr>
        <p:grpSpPr>
          <a:xfrm>
            <a:off x="2662578" y="2286001"/>
            <a:ext cx="766423" cy="766422"/>
            <a:chOff x="1065213" y="606770"/>
            <a:chExt cx="766422" cy="766422"/>
          </a:xfrm>
        </p:grpSpPr>
        <p:sp>
          <p:nvSpPr>
            <p:cNvPr id="15" name="Oval 14"/>
            <p:cNvSpPr/>
            <p:nvPr/>
          </p:nvSpPr>
          <p:spPr bwMode="black">
            <a:xfrm>
              <a:off x="1065213" y="606770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17" name="Freeform 5"/>
            <p:cNvSpPr>
              <a:spLocks/>
            </p:cNvSpPr>
            <p:nvPr/>
          </p:nvSpPr>
          <p:spPr bwMode="black">
            <a:xfrm>
              <a:off x="1319065" y="736600"/>
              <a:ext cx="249721" cy="508801"/>
            </a:xfrm>
            <a:custGeom>
              <a:avLst/>
              <a:gdLst>
                <a:gd name="T0" fmla="*/ 156 w 178"/>
                <a:gd name="T1" fmla="*/ 51 h 365"/>
                <a:gd name="T2" fmla="*/ 145 w 178"/>
                <a:gd name="T3" fmla="*/ 41 h 365"/>
                <a:gd name="T4" fmla="*/ 122 w 178"/>
                <a:gd name="T5" fmla="*/ 17 h 365"/>
                <a:gd name="T6" fmla="*/ 89 w 178"/>
                <a:gd name="T7" fmla="*/ 0 h 365"/>
                <a:gd name="T8" fmla="*/ 56 w 178"/>
                <a:gd name="T9" fmla="*/ 17 h 365"/>
                <a:gd name="T10" fmla="*/ 33 w 178"/>
                <a:gd name="T11" fmla="*/ 109 h 365"/>
                <a:gd name="T12" fmla="*/ 0 w 178"/>
                <a:gd name="T13" fmla="*/ 115 h 365"/>
                <a:gd name="T14" fmla="*/ 30 w 178"/>
                <a:gd name="T15" fmla="*/ 281 h 365"/>
                <a:gd name="T16" fmla="*/ 33 w 178"/>
                <a:gd name="T17" fmla="*/ 284 h 365"/>
                <a:gd name="T18" fmla="*/ 39 w 178"/>
                <a:gd name="T19" fmla="*/ 365 h 365"/>
                <a:gd name="T20" fmla="*/ 39 w 178"/>
                <a:gd name="T21" fmla="*/ 365 h 365"/>
                <a:gd name="T22" fmla="*/ 45 w 178"/>
                <a:gd name="T23" fmla="*/ 361 h 365"/>
                <a:gd name="T24" fmla="*/ 59 w 178"/>
                <a:gd name="T25" fmla="*/ 299 h 365"/>
                <a:gd name="T26" fmla="*/ 66 w 178"/>
                <a:gd name="T27" fmla="*/ 295 h 365"/>
                <a:gd name="T28" fmla="*/ 58 w 178"/>
                <a:gd name="T29" fmla="*/ 286 h 365"/>
                <a:gd name="T30" fmla="*/ 57 w 178"/>
                <a:gd name="T31" fmla="*/ 285 h 365"/>
                <a:gd name="T32" fmla="*/ 37 w 178"/>
                <a:gd name="T33" fmla="*/ 273 h 365"/>
                <a:gd name="T34" fmla="*/ 11 w 178"/>
                <a:gd name="T35" fmla="*/ 133 h 365"/>
                <a:gd name="T36" fmla="*/ 13 w 178"/>
                <a:gd name="T37" fmla="*/ 113 h 365"/>
                <a:gd name="T38" fmla="*/ 33 w 178"/>
                <a:gd name="T39" fmla="*/ 177 h 365"/>
                <a:gd name="T40" fmla="*/ 39 w 178"/>
                <a:gd name="T41" fmla="*/ 182 h 365"/>
                <a:gd name="T42" fmla="*/ 90 w 178"/>
                <a:gd name="T43" fmla="*/ 233 h 365"/>
                <a:gd name="T44" fmla="*/ 45 w 178"/>
                <a:gd name="T45" fmla="*/ 171 h 365"/>
                <a:gd name="T46" fmla="*/ 56 w 178"/>
                <a:gd name="T47" fmla="*/ 28 h 365"/>
                <a:gd name="T48" fmla="*/ 67 w 178"/>
                <a:gd name="T49" fmla="*/ 41 h 365"/>
                <a:gd name="T50" fmla="*/ 72 w 178"/>
                <a:gd name="T51" fmla="*/ 146 h 365"/>
                <a:gd name="T52" fmla="*/ 72 w 178"/>
                <a:gd name="T53" fmla="*/ 146 h 365"/>
                <a:gd name="T54" fmla="*/ 78 w 178"/>
                <a:gd name="T55" fmla="*/ 24 h 365"/>
                <a:gd name="T56" fmla="*/ 78 w 178"/>
                <a:gd name="T57" fmla="*/ 23 h 365"/>
                <a:gd name="T58" fmla="*/ 100 w 178"/>
                <a:gd name="T59" fmla="*/ 23 h 365"/>
                <a:gd name="T60" fmla="*/ 100 w 178"/>
                <a:gd name="T61" fmla="*/ 23 h 365"/>
                <a:gd name="T62" fmla="*/ 100 w 178"/>
                <a:gd name="T63" fmla="*/ 39 h 365"/>
                <a:gd name="T64" fmla="*/ 100 w 178"/>
                <a:gd name="T65" fmla="*/ 140 h 365"/>
                <a:gd name="T66" fmla="*/ 111 w 178"/>
                <a:gd name="T67" fmla="*/ 140 h 365"/>
                <a:gd name="T68" fmla="*/ 122 w 178"/>
                <a:gd name="T69" fmla="*/ 28 h 365"/>
                <a:gd name="T70" fmla="*/ 133 w 178"/>
                <a:gd name="T71" fmla="*/ 40 h 365"/>
                <a:gd name="T72" fmla="*/ 139 w 178"/>
                <a:gd name="T73" fmla="*/ 155 h 365"/>
                <a:gd name="T74" fmla="*/ 139 w 178"/>
                <a:gd name="T75" fmla="*/ 155 h 365"/>
                <a:gd name="T76" fmla="*/ 145 w 178"/>
                <a:gd name="T77" fmla="*/ 149 h 365"/>
                <a:gd name="T78" fmla="*/ 145 w 178"/>
                <a:gd name="T79" fmla="*/ 74 h 365"/>
                <a:gd name="T80" fmla="*/ 156 w 178"/>
                <a:gd name="T81" fmla="*/ 62 h 365"/>
                <a:gd name="T82" fmla="*/ 167 w 178"/>
                <a:gd name="T83" fmla="*/ 74 h 365"/>
                <a:gd name="T84" fmla="*/ 143 w 178"/>
                <a:gd name="T85" fmla="*/ 271 h 365"/>
                <a:gd name="T86" fmla="*/ 115 w 178"/>
                <a:gd name="T87" fmla="*/ 288 h 365"/>
                <a:gd name="T88" fmla="*/ 117 w 178"/>
                <a:gd name="T89" fmla="*/ 299 h 365"/>
                <a:gd name="T90" fmla="*/ 133 w 178"/>
                <a:gd name="T91" fmla="*/ 292 h 365"/>
                <a:gd name="T92" fmla="*/ 139 w 178"/>
                <a:gd name="T93" fmla="*/ 365 h 365"/>
                <a:gd name="T94" fmla="*/ 139 w 178"/>
                <a:gd name="T95" fmla="*/ 365 h 365"/>
                <a:gd name="T96" fmla="*/ 145 w 178"/>
                <a:gd name="T97" fmla="*/ 361 h 365"/>
                <a:gd name="T98" fmla="*/ 149 w 178"/>
                <a:gd name="T99" fmla="*/ 280 h 365"/>
                <a:gd name="T100" fmla="*/ 178 w 178"/>
                <a:gd name="T101" fmla="*/ 215 h 365"/>
                <a:gd name="T102" fmla="*/ 178 w 178"/>
                <a:gd name="T103" fmla="*/ 7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8" h="365">
                  <a:moveTo>
                    <a:pt x="178" y="73"/>
                  </a:moveTo>
                  <a:cubicBezTo>
                    <a:pt x="178" y="61"/>
                    <a:pt x="168" y="51"/>
                    <a:pt x="156" y="51"/>
                  </a:cubicBezTo>
                  <a:cubicBezTo>
                    <a:pt x="152" y="51"/>
                    <a:pt x="148" y="52"/>
                    <a:pt x="145" y="54"/>
                  </a:cubicBezTo>
                  <a:cubicBezTo>
                    <a:pt x="145" y="41"/>
                    <a:pt x="145" y="41"/>
                    <a:pt x="145" y="41"/>
                  </a:cubicBezTo>
                  <a:cubicBezTo>
                    <a:pt x="145" y="40"/>
                    <a:pt x="145" y="40"/>
                    <a:pt x="145" y="39"/>
                  </a:cubicBezTo>
                  <a:cubicBezTo>
                    <a:pt x="145" y="27"/>
                    <a:pt x="135" y="17"/>
                    <a:pt x="122" y="17"/>
                  </a:cubicBezTo>
                  <a:cubicBezTo>
                    <a:pt x="118" y="17"/>
                    <a:pt x="115" y="18"/>
                    <a:pt x="111" y="20"/>
                  </a:cubicBezTo>
                  <a:cubicBezTo>
                    <a:pt x="110" y="9"/>
                    <a:pt x="100" y="0"/>
                    <a:pt x="89" y="0"/>
                  </a:cubicBezTo>
                  <a:cubicBezTo>
                    <a:pt x="78" y="0"/>
                    <a:pt x="68" y="9"/>
                    <a:pt x="67" y="20"/>
                  </a:cubicBezTo>
                  <a:cubicBezTo>
                    <a:pt x="64" y="18"/>
                    <a:pt x="60" y="17"/>
                    <a:pt x="56" y="17"/>
                  </a:cubicBezTo>
                  <a:cubicBezTo>
                    <a:pt x="43" y="17"/>
                    <a:pt x="33" y="27"/>
                    <a:pt x="33" y="39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28" y="104"/>
                    <a:pt x="21" y="102"/>
                    <a:pt x="13" y="102"/>
                  </a:cubicBezTo>
                  <a:cubicBezTo>
                    <a:pt x="6" y="102"/>
                    <a:pt x="0" y="108"/>
                    <a:pt x="0" y="115"/>
                  </a:cubicBezTo>
                  <a:cubicBezTo>
                    <a:pt x="0" y="215"/>
                    <a:pt x="0" y="215"/>
                    <a:pt x="0" y="215"/>
                  </a:cubicBezTo>
                  <a:cubicBezTo>
                    <a:pt x="0" y="241"/>
                    <a:pt x="12" y="265"/>
                    <a:pt x="30" y="281"/>
                  </a:cubicBezTo>
                  <a:cubicBezTo>
                    <a:pt x="30" y="281"/>
                    <a:pt x="30" y="282"/>
                    <a:pt x="31" y="282"/>
                  </a:cubicBezTo>
                  <a:cubicBezTo>
                    <a:pt x="32" y="283"/>
                    <a:pt x="32" y="284"/>
                    <a:pt x="33" y="284"/>
                  </a:cubicBezTo>
                  <a:cubicBezTo>
                    <a:pt x="33" y="361"/>
                    <a:pt x="33" y="361"/>
                    <a:pt x="33" y="361"/>
                  </a:cubicBezTo>
                  <a:cubicBezTo>
                    <a:pt x="33" y="363"/>
                    <a:pt x="36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39" y="365"/>
                    <a:pt x="39" y="365"/>
                    <a:pt x="39" y="365"/>
                  </a:cubicBezTo>
                  <a:cubicBezTo>
                    <a:pt x="42" y="365"/>
                    <a:pt x="45" y="363"/>
                    <a:pt x="45" y="361"/>
                  </a:cubicBezTo>
                  <a:cubicBezTo>
                    <a:pt x="45" y="292"/>
                    <a:pt x="45" y="292"/>
                    <a:pt x="45" y="292"/>
                  </a:cubicBezTo>
                  <a:cubicBezTo>
                    <a:pt x="49" y="295"/>
                    <a:pt x="54" y="297"/>
                    <a:pt x="59" y="299"/>
                  </a:cubicBezTo>
                  <a:cubicBezTo>
                    <a:pt x="59" y="299"/>
                    <a:pt x="60" y="299"/>
                    <a:pt x="61" y="299"/>
                  </a:cubicBezTo>
                  <a:cubicBezTo>
                    <a:pt x="63" y="299"/>
                    <a:pt x="65" y="297"/>
                    <a:pt x="66" y="295"/>
                  </a:cubicBezTo>
                  <a:cubicBezTo>
                    <a:pt x="67" y="292"/>
                    <a:pt x="66" y="289"/>
                    <a:pt x="63" y="288"/>
                  </a:cubicBezTo>
                  <a:cubicBezTo>
                    <a:pt x="61" y="287"/>
                    <a:pt x="59" y="286"/>
                    <a:pt x="58" y="286"/>
                  </a:cubicBezTo>
                  <a:cubicBezTo>
                    <a:pt x="58" y="286"/>
                    <a:pt x="58" y="286"/>
                    <a:pt x="58" y="286"/>
                  </a:cubicBezTo>
                  <a:cubicBezTo>
                    <a:pt x="58" y="286"/>
                    <a:pt x="57" y="286"/>
                    <a:pt x="57" y="285"/>
                  </a:cubicBezTo>
                  <a:cubicBezTo>
                    <a:pt x="50" y="282"/>
                    <a:pt x="44" y="278"/>
                    <a:pt x="38" y="273"/>
                  </a:cubicBezTo>
                  <a:cubicBezTo>
                    <a:pt x="38" y="273"/>
                    <a:pt x="37" y="273"/>
                    <a:pt x="37" y="273"/>
                  </a:cubicBezTo>
                  <a:cubicBezTo>
                    <a:pt x="21" y="258"/>
                    <a:pt x="11" y="238"/>
                    <a:pt x="11" y="215"/>
                  </a:cubicBezTo>
                  <a:cubicBezTo>
                    <a:pt x="11" y="133"/>
                    <a:pt x="11" y="133"/>
                    <a:pt x="11" y="133"/>
                  </a:cubicBezTo>
                  <a:cubicBezTo>
                    <a:pt x="11" y="115"/>
                    <a:pt x="11" y="115"/>
                    <a:pt x="11" y="115"/>
                  </a:cubicBezTo>
                  <a:cubicBezTo>
                    <a:pt x="11" y="114"/>
                    <a:pt x="12" y="113"/>
                    <a:pt x="13" y="113"/>
                  </a:cubicBezTo>
                  <a:cubicBezTo>
                    <a:pt x="24" y="113"/>
                    <a:pt x="33" y="122"/>
                    <a:pt x="33" y="133"/>
                  </a:cubicBezTo>
                  <a:cubicBezTo>
                    <a:pt x="33" y="177"/>
                    <a:pt x="33" y="177"/>
                    <a:pt x="33" y="177"/>
                  </a:cubicBezTo>
                  <a:cubicBezTo>
                    <a:pt x="33" y="180"/>
                    <a:pt x="36" y="182"/>
                    <a:pt x="39" y="182"/>
                  </a:cubicBezTo>
                  <a:cubicBezTo>
                    <a:pt x="39" y="182"/>
                    <a:pt x="39" y="182"/>
                    <a:pt x="39" y="182"/>
                  </a:cubicBezTo>
                  <a:cubicBezTo>
                    <a:pt x="64" y="182"/>
                    <a:pt x="84" y="202"/>
                    <a:pt x="84" y="227"/>
                  </a:cubicBezTo>
                  <a:cubicBezTo>
                    <a:pt x="84" y="230"/>
                    <a:pt x="86" y="233"/>
                    <a:pt x="90" y="233"/>
                  </a:cubicBezTo>
                  <a:cubicBezTo>
                    <a:pt x="93" y="233"/>
                    <a:pt x="95" y="230"/>
                    <a:pt x="95" y="227"/>
                  </a:cubicBezTo>
                  <a:cubicBezTo>
                    <a:pt x="95" y="198"/>
                    <a:pt x="73" y="174"/>
                    <a:pt x="45" y="171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3"/>
                    <a:pt x="49" y="28"/>
                    <a:pt x="56" y="28"/>
                  </a:cubicBezTo>
                  <a:cubicBezTo>
                    <a:pt x="62" y="28"/>
                    <a:pt x="67" y="33"/>
                    <a:pt x="67" y="39"/>
                  </a:cubicBezTo>
                  <a:cubicBezTo>
                    <a:pt x="67" y="40"/>
                    <a:pt x="67" y="40"/>
                    <a:pt x="67" y="41"/>
                  </a:cubicBezTo>
                  <a:cubicBezTo>
                    <a:pt x="67" y="140"/>
                    <a:pt x="67" y="140"/>
                    <a:pt x="67" y="140"/>
                  </a:cubicBezTo>
                  <a:cubicBezTo>
                    <a:pt x="67" y="143"/>
                    <a:pt x="69" y="146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2" y="146"/>
                    <a:pt x="72" y="146"/>
                    <a:pt x="72" y="146"/>
                  </a:cubicBezTo>
                  <a:cubicBezTo>
                    <a:pt x="75" y="146"/>
                    <a:pt x="78" y="143"/>
                    <a:pt x="78" y="140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16"/>
                    <a:pt x="83" y="11"/>
                    <a:pt x="89" y="11"/>
                  </a:cubicBezTo>
                  <a:cubicBezTo>
                    <a:pt x="95" y="11"/>
                    <a:pt x="100" y="16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23"/>
                    <a:pt x="100" y="23"/>
                    <a:pt x="100" y="23"/>
                  </a:cubicBezTo>
                  <a:cubicBezTo>
                    <a:pt x="100" y="38"/>
                    <a:pt x="100" y="38"/>
                    <a:pt x="100" y="38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100" y="40"/>
                    <a:pt x="100" y="40"/>
                    <a:pt x="100" y="40"/>
                  </a:cubicBezTo>
                  <a:cubicBezTo>
                    <a:pt x="100" y="140"/>
                    <a:pt x="100" y="140"/>
                    <a:pt x="100" y="140"/>
                  </a:cubicBezTo>
                  <a:cubicBezTo>
                    <a:pt x="100" y="143"/>
                    <a:pt x="103" y="146"/>
                    <a:pt x="106" y="146"/>
                  </a:cubicBezTo>
                  <a:cubicBezTo>
                    <a:pt x="109" y="146"/>
                    <a:pt x="111" y="143"/>
                    <a:pt x="111" y="140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2" y="33"/>
                    <a:pt x="117" y="28"/>
                    <a:pt x="122" y="28"/>
                  </a:cubicBezTo>
                  <a:cubicBezTo>
                    <a:pt x="128" y="28"/>
                    <a:pt x="133" y="33"/>
                    <a:pt x="133" y="39"/>
                  </a:cubicBezTo>
                  <a:cubicBezTo>
                    <a:pt x="133" y="39"/>
                    <a:pt x="133" y="40"/>
                    <a:pt x="133" y="40"/>
                  </a:cubicBezTo>
                  <a:cubicBezTo>
                    <a:pt x="133" y="149"/>
                    <a:pt x="133" y="149"/>
                    <a:pt x="133" y="149"/>
                  </a:cubicBezTo>
                  <a:cubicBezTo>
                    <a:pt x="133" y="152"/>
                    <a:pt x="136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39" y="155"/>
                    <a:pt x="139" y="155"/>
                    <a:pt x="139" y="155"/>
                  </a:cubicBezTo>
                  <a:cubicBezTo>
                    <a:pt x="142" y="155"/>
                    <a:pt x="145" y="152"/>
                    <a:pt x="145" y="149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4"/>
                    <a:pt x="145" y="74"/>
                    <a:pt x="145" y="74"/>
                  </a:cubicBezTo>
                  <a:cubicBezTo>
                    <a:pt x="145" y="73"/>
                    <a:pt x="145" y="73"/>
                    <a:pt x="145" y="73"/>
                  </a:cubicBezTo>
                  <a:cubicBezTo>
                    <a:pt x="145" y="67"/>
                    <a:pt x="150" y="62"/>
                    <a:pt x="156" y="62"/>
                  </a:cubicBezTo>
                  <a:cubicBezTo>
                    <a:pt x="162" y="62"/>
                    <a:pt x="167" y="67"/>
                    <a:pt x="167" y="73"/>
                  </a:cubicBezTo>
                  <a:cubicBezTo>
                    <a:pt x="167" y="73"/>
                    <a:pt x="167" y="73"/>
                    <a:pt x="167" y="74"/>
                  </a:cubicBezTo>
                  <a:cubicBezTo>
                    <a:pt x="167" y="215"/>
                    <a:pt x="167" y="215"/>
                    <a:pt x="167" y="215"/>
                  </a:cubicBezTo>
                  <a:cubicBezTo>
                    <a:pt x="167" y="237"/>
                    <a:pt x="158" y="257"/>
                    <a:pt x="143" y="271"/>
                  </a:cubicBezTo>
                  <a:cubicBezTo>
                    <a:pt x="142" y="271"/>
                    <a:pt x="142" y="271"/>
                    <a:pt x="141" y="272"/>
                  </a:cubicBezTo>
                  <a:cubicBezTo>
                    <a:pt x="134" y="279"/>
                    <a:pt x="125" y="284"/>
                    <a:pt x="115" y="288"/>
                  </a:cubicBezTo>
                  <a:cubicBezTo>
                    <a:pt x="112" y="289"/>
                    <a:pt x="111" y="292"/>
                    <a:pt x="112" y="295"/>
                  </a:cubicBezTo>
                  <a:cubicBezTo>
                    <a:pt x="113" y="297"/>
                    <a:pt x="115" y="299"/>
                    <a:pt x="117" y="299"/>
                  </a:cubicBezTo>
                  <a:cubicBezTo>
                    <a:pt x="118" y="299"/>
                    <a:pt x="119" y="299"/>
                    <a:pt x="119" y="299"/>
                  </a:cubicBezTo>
                  <a:cubicBezTo>
                    <a:pt x="124" y="297"/>
                    <a:pt x="129" y="295"/>
                    <a:pt x="133" y="292"/>
                  </a:cubicBezTo>
                  <a:cubicBezTo>
                    <a:pt x="133" y="361"/>
                    <a:pt x="133" y="361"/>
                    <a:pt x="133" y="361"/>
                  </a:cubicBezTo>
                  <a:cubicBezTo>
                    <a:pt x="133" y="363"/>
                    <a:pt x="136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39" y="365"/>
                    <a:pt x="139" y="365"/>
                    <a:pt x="139" y="365"/>
                  </a:cubicBezTo>
                  <a:cubicBezTo>
                    <a:pt x="142" y="365"/>
                    <a:pt x="145" y="363"/>
                    <a:pt x="145" y="361"/>
                  </a:cubicBezTo>
                  <a:cubicBezTo>
                    <a:pt x="145" y="284"/>
                    <a:pt x="145" y="284"/>
                    <a:pt x="145" y="284"/>
                  </a:cubicBezTo>
                  <a:cubicBezTo>
                    <a:pt x="146" y="283"/>
                    <a:pt x="148" y="282"/>
                    <a:pt x="149" y="280"/>
                  </a:cubicBezTo>
                  <a:cubicBezTo>
                    <a:pt x="149" y="280"/>
                    <a:pt x="150" y="280"/>
                    <a:pt x="150" y="280"/>
                  </a:cubicBezTo>
                  <a:cubicBezTo>
                    <a:pt x="167" y="263"/>
                    <a:pt x="178" y="240"/>
                    <a:pt x="178" y="215"/>
                  </a:cubicBezTo>
                  <a:cubicBezTo>
                    <a:pt x="178" y="74"/>
                    <a:pt x="178" y="74"/>
                    <a:pt x="178" y="74"/>
                  </a:cubicBezTo>
                  <a:cubicBezTo>
                    <a:pt x="178" y="74"/>
                    <a:pt x="178" y="73"/>
                    <a:pt x="178" y="73"/>
                  </a:cubicBezTo>
                  <a:close/>
                </a:path>
              </a:pathLst>
            </a:custGeom>
            <a:solidFill>
              <a:srgbClr val="00549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kern="0">
                <a:solidFill>
                  <a:srgbClr val="000000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32587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ideo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itle 2"/>
          <p:cNvSpPr txBox="1">
            <a:spLocks/>
          </p:cNvSpPr>
          <p:nvPr/>
        </p:nvSpPr>
        <p:spPr>
          <a:xfrm>
            <a:off x="4400669" y="2678784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Video</a:t>
            </a:r>
          </a:p>
        </p:txBody>
      </p:sp>
      <p:sp>
        <p:nvSpPr>
          <p:cNvPr id="31" name="Title 2"/>
          <p:cNvSpPr txBox="1">
            <a:spLocks/>
          </p:cNvSpPr>
          <p:nvPr/>
        </p:nvSpPr>
        <p:spPr>
          <a:xfrm>
            <a:off x="4432420" y="2299745"/>
            <a:ext cx="6572131" cy="5035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endParaRPr lang="en-US" sz="280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1" name="Video"/>
          <p:cNvGrpSpPr/>
          <p:nvPr userDrawn="1"/>
        </p:nvGrpSpPr>
        <p:grpSpPr bwMode="black">
          <a:xfrm>
            <a:off x="2662578" y="2281579"/>
            <a:ext cx="766423" cy="766422"/>
            <a:chOff x="1056368" y="615900"/>
            <a:chExt cx="766422" cy="766422"/>
          </a:xfrm>
        </p:grpSpPr>
        <p:sp>
          <p:nvSpPr>
            <p:cNvPr id="22" name="Oval 21"/>
            <p:cNvSpPr/>
            <p:nvPr/>
          </p:nvSpPr>
          <p:spPr bwMode="black">
            <a:xfrm>
              <a:off x="1056368" y="615900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3" name="Rounded Rectangle 22"/>
            <p:cNvSpPr/>
            <p:nvPr/>
          </p:nvSpPr>
          <p:spPr bwMode="black">
            <a:xfrm>
              <a:off x="1210979" y="846711"/>
              <a:ext cx="457200" cy="304800"/>
            </a:xfrm>
            <a:prstGeom prst="roundRect">
              <a:avLst>
                <a:gd name="adj" fmla="val 11198"/>
              </a:avLst>
            </a:prstGeom>
            <a:noFill/>
            <a:ln w="19050" cap="rnd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32" name="Isosceles Triangle 31"/>
            <p:cNvSpPr/>
            <p:nvPr/>
          </p:nvSpPr>
          <p:spPr bwMode="black">
            <a:xfrm rot="5400000">
              <a:off x="1349309" y="921292"/>
              <a:ext cx="180541" cy="155638"/>
            </a:xfrm>
            <a:prstGeom prst="triangle">
              <a:avLst/>
            </a:prstGeom>
            <a:noFill/>
            <a:ln w="19050" cap="rnd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7109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ole play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2"/>
          <p:cNvSpPr txBox="1">
            <a:spLocks/>
          </p:cNvSpPr>
          <p:nvPr/>
        </p:nvSpPr>
        <p:spPr>
          <a:xfrm>
            <a:off x="4400669" y="2320183"/>
            <a:ext cx="6572131" cy="138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Role play</a:t>
            </a:r>
          </a:p>
        </p:txBody>
      </p:sp>
      <p:sp>
        <p:nvSpPr>
          <p:cNvPr id="13" name="Oval 12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5" name="Paired discussion"/>
          <p:cNvGrpSpPr/>
          <p:nvPr userDrawn="1"/>
        </p:nvGrpSpPr>
        <p:grpSpPr>
          <a:xfrm>
            <a:off x="2667001" y="2281579"/>
            <a:ext cx="766423" cy="766422"/>
            <a:chOff x="6127254" y="2202852"/>
            <a:chExt cx="766422" cy="766422"/>
          </a:xfrm>
        </p:grpSpPr>
        <p:sp>
          <p:nvSpPr>
            <p:cNvPr id="26" name="Oval 25"/>
            <p:cNvSpPr/>
            <p:nvPr/>
          </p:nvSpPr>
          <p:spPr bwMode="black">
            <a:xfrm>
              <a:off x="6127254" y="22028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27" name="Oval Callout 26"/>
            <p:cNvSpPr/>
            <p:nvPr/>
          </p:nvSpPr>
          <p:spPr bwMode="auto">
            <a:xfrm flipV="1">
              <a:off x="6384086" y="2287737"/>
              <a:ext cx="252759" cy="216936"/>
            </a:xfrm>
            <a:prstGeom prst="wedgeEllipseCallout">
              <a:avLst>
                <a:gd name="adj1" fmla="val 3421"/>
                <a:gd name="adj2" fmla="val -73598"/>
              </a:avLst>
            </a:prstGeom>
            <a:noFill/>
            <a:ln w="22225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8" name="Group 27"/>
            <p:cNvGrpSpPr/>
            <p:nvPr/>
          </p:nvGrpSpPr>
          <p:grpSpPr bwMode="black">
            <a:xfrm>
              <a:off x="6270848" y="2545089"/>
              <a:ext cx="497735" cy="234978"/>
              <a:chOff x="1193797" y="868129"/>
              <a:chExt cx="497735" cy="234978"/>
            </a:xfrm>
          </p:grpSpPr>
          <p:sp>
            <p:nvSpPr>
              <p:cNvPr id="29" name="Freeform 28"/>
              <p:cNvSpPr/>
              <p:nvPr/>
            </p:nvSpPr>
            <p:spPr bwMode="black">
              <a:xfrm>
                <a:off x="1459101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29"/>
              <p:cNvSpPr/>
              <p:nvPr/>
            </p:nvSpPr>
            <p:spPr bwMode="black">
              <a:xfrm>
                <a:off x="1193797" y="868129"/>
                <a:ext cx="232431" cy="234978"/>
              </a:xfrm>
              <a:custGeom>
                <a:avLst/>
                <a:gdLst>
                  <a:gd name="connsiteX0" fmla="*/ 497270 w 994540"/>
                  <a:gd name="connsiteY0" fmla="*/ 0 h 1005436"/>
                  <a:gd name="connsiteX1" fmla="*/ 745445 w 994540"/>
                  <a:gd name="connsiteY1" fmla="*/ 248175 h 1005436"/>
                  <a:gd name="connsiteX2" fmla="*/ 672756 w 994540"/>
                  <a:gd name="connsiteY2" fmla="*/ 423661 h 1005436"/>
                  <a:gd name="connsiteX3" fmla="*/ 636115 w 994540"/>
                  <a:gd name="connsiteY3" fmla="*/ 453894 h 1005436"/>
                  <a:gd name="connsiteX4" fmla="*/ 690830 w 994540"/>
                  <a:gd name="connsiteY4" fmla="*/ 470878 h 1005436"/>
                  <a:gd name="connsiteX5" fmla="*/ 994540 w 994540"/>
                  <a:gd name="connsiteY5" fmla="*/ 929070 h 1005436"/>
                  <a:gd name="connsiteX6" fmla="*/ 0 w 994540"/>
                  <a:gd name="connsiteY6" fmla="*/ 929070 h 1005436"/>
                  <a:gd name="connsiteX7" fmla="*/ 303710 w 994540"/>
                  <a:gd name="connsiteY7" fmla="*/ 470878 h 1005436"/>
                  <a:gd name="connsiteX8" fmla="*/ 358426 w 994540"/>
                  <a:gd name="connsiteY8" fmla="*/ 453894 h 1005436"/>
                  <a:gd name="connsiteX9" fmla="*/ 321784 w 994540"/>
                  <a:gd name="connsiteY9" fmla="*/ 423661 h 1005436"/>
                  <a:gd name="connsiteX10" fmla="*/ 249095 w 994540"/>
                  <a:gd name="connsiteY10" fmla="*/ 248175 h 1005436"/>
                  <a:gd name="connsiteX11" fmla="*/ 497270 w 994540"/>
                  <a:gd name="connsiteY11" fmla="*/ 0 h 10054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94540" h="1005436">
                    <a:moveTo>
                      <a:pt x="497270" y="0"/>
                    </a:moveTo>
                    <a:cubicBezTo>
                      <a:pt x="634333" y="0"/>
                      <a:pt x="745445" y="111112"/>
                      <a:pt x="745445" y="248175"/>
                    </a:cubicBezTo>
                    <a:cubicBezTo>
                      <a:pt x="745445" y="316706"/>
                      <a:pt x="717667" y="378750"/>
                      <a:pt x="672756" y="423661"/>
                    </a:cubicBezTo>
                    <a:lnTo>
                      <a:pt x="636115" y="453894"/>
                    </a:lnTo>
                    <a:lnTo>
                      <a:pt x="690830" y="470878"/>
                    </a:lnTo>
                    <a:cubicBezTo>
                      <a:pt x="869308" y="546368"/>
                      <a:pt x="994540" y="723094"/>
                      <a:pt x="994540" y="929070"/>
                    </a:cubicBezTo>
                    <a:cubicBezTo>
                      <a:pt x="685252" y="1040195"/>
                      <a:pt x="306113" y="1021145"/>
                      <a:pt x="0" y="929070"/>
                    </a:cubicBezTo>
                    <a:cubicBezTo>
                      <a:pt x="0" y="723094"/>
                      <a:pt x="125232" y="546368"/>
                      <a:pt x="303710" y="470878"/>
                    </a:cubicBezTo>
                    <a:lnTo>
                      <a:pt x="358426" y="453894"/>
                    </a:lnTo>
                    <a:lnTo>
                      <a:pt x="321784" y="423661"/>
                    </a:lnTo>
                    <a:cubicBezTo>
                      <a:pt x="276873" y="378750"/>
                      <a:pt x="249095" y="316706"/>
                      <a:pt x="249095" y="248175"/>
                    </a:cubicBezTo>
                    <a:cubicBezTo>
                      <a:pt x="249095" y="111112"/>
                      <a:pt x="360207" y="0"/>
                      <a:pt x="497270" y="0"/>
                    </a:cubicBezTo>
                    <a:close/>
                  </a:path>
                </a:pathLst>
              </a:custGeom>
              <a:noFill/>
              <a:ln w="22225" cap="rnd" cmpd="sng" algn="ctr">
                <a:solidFill>
                  <a:srgbClr val="00549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lnSpc>
                    <a:spcPct val="90000"/>
                  </a:lnSpc>
                  <a:defRPr/>
                </a:pPr>
                <a:endParaRPr kern="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7125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1" y="1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Title 2"/>
          <p:cNvSpPr txBox="1">
            <a:spLocks/>
          </p:cNvSpPr>
          <p:nvPr/>
        </p:nvSpPr>
        <p:spPr>
          <a:xfrm>
            <a:off x="4400669" y="2561046"/>
            <a:ext cx="6572131" cy="9026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>
                <a:solidFill>
                  <a:prstClr val="white"/>
                </a:solidFill>
              </a:rPr>
              <a:t>Break</a:t>
            </a:r>
          </a:p>
        </p:txBody>
      </p:sp>
      <p:sp>
        <p:nvSpPr>
          <p:cNvPr id="14" name="Oval 13"/>
          <p:cNvSpPr/>
          <p:nvPr userDrawn="1"/>
        </p:nvSpPr>
        <p:spPr>
          <a:xfrm>
            <a:off x="2362200" y="1981200"/>
            <a:ext cx="1371600" cy="1285032"/>
          </a:xfrm>
          <a:prstGeom prst="ellipse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21" name="Break"/>
          <p:cNvGrpSpPr/>
          <p:nvPr userDrawn="1"/>
        </p:nvGrpSpPr>
        <p:grpSpPr>
          <a:xfrm>
            <a:off x="2662578" y="2281579"/>
            <a:ext cx="766423" cy="766422"/>
            <a:chOff x="609443" y="2291752"/>
            <a:chExt cx="766422" cy="766422"/>
          </a:xfrm>
        </p:grpSpPr>
        <p:sp>
          <p:nvSpPr>
            <p:cNvPr id="22" name="Oval 21"/>
            <p:cNvSpPr/>
            <p:nvPr/>
          </p:nvSpPr>
          <p:spPr bwMode="black">
            <a:xfrm>
              <a:off x="609443" y="2291752"/>
              <a:ext cx="766422" cy="766422"/>
            </a:xfrm>
            <a:prstGeom prst="ellipse">
              <a:avLst/>
            </a:prstGeom>
            <a:noFill/>
            <a:ln w="25400" cap="flat" cmpd="sng" algn="ctr">
              <a:solidFill>
                <a:srgbClr val="00549E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defRPr/>
              </a:pPr>
              <a:endParaRPr kern="0">
                <a:solidFill>
                  <a:srgbClr val="FFFFFF"/>
                </a:solidFill>
                <a:cs typeface="Arial" panose="020B0604020202020204" pitchFamily="34" charset="0"/>
              </a:endParaRPr>
            </a:p>
          </p:txBody>
        </p:sp>
        <p:grpSp>
          <p:nvGrpSpPr>
            <p:cNvPr id="23" name="Group 22"/>
            <p:cNvGrpSpPr/>
            <p:nvPr/>
          </p:nvGrpSpPr>
          <p:grpSpPr bwMode="black">
            <a:xfrm>
              <a:off x="799742" y="2446982"/>
              <a:ext cx="423102" cy="447592"/>
              <a:chOff x="2795588" y="2217738"/>
              <a:chExt cx="795337" cy="841375"/>
            </a:xfrm>
            <a:solidFill>
              <a:srgbClr val="00549E"/>
            </a:solidFill>
          </p:grpSpPr>
          <p:sp>
            <p:nvSpPr>
              <p:cNvPr id="32" name="Freeform 7"/>
              <p:cNvSpPr>
                <a:spLocks noEditPoints="1"/>
              </p:cNvSpPr>
              <p:nvPr/>
            </p:nvSpPr>
            <p:spPr bwMode="black">
              <a:xfrm>
                <a:off x="2795588" y="2552700"/>
                <a:ext cx="795337" cy="506413"/>
              </a:xfrm>
              <a:custGeom>
                <a:avLst/>
                <a:gdLst>
                  <a:gd name="T0" fmla="*/ 2718 w 3504"/>
                  <a:gd name="T1" fmla="*/ 1291 h 2229"/>
                  <a:gd name="T2" fmla="*/ 2827 w 3504"/>
                  <a:gd name="T3" fmla="*/ 1262 h 2229"/>
                  <a:gd name="T4" fmla="*/ 2921 w 3504"/>
                  <a:gd name="T5" fmla="*/ 1215 h 2229"/>
                  <a:gd name="T6" fmla="*/ 3002 w 3504"/>
                  <a:gd name="T7" fmla="*/ 1157 h 2229"/>
                  <a:gd name="T8" fmla="*/ 3071 w 3504"/>
                  <a:gd name="T9" fmla="*/ 1088 h 2229"/>
                  <a:gd name="T10" fmla="*/ 3129 w 3504"/>
                  <a:gd name="T11" fmla="*/ 1011 h 2229"/>
                  <a:gd name="T12" fmla="*/ 3176 w 3504"/>
                  <a:gd name="T13" fmla="*/ 931 h 2229"/>
                  <a:gd name="T14" fmla="*/ 3213 w 3504"/>
                  <a:gd name="T15" fmla="*/ 849 h 2229"/>
                  <a:gd name="T16" fmla="*/ 3244 w 3504"/>
                  <a:gd name="T17" fmla="*/ 770 h 2229"/>
                  <a:gd name="T18" fmla="*/ 3266 w 3504"/>
                  <a:gd name="T19" fmla="*/ 697 h 2229"/>
                  <a:gd name="T20" fmla="*/ 3282 w 3504"/>
                  <a:gd name="T21" fmla="*/ 632 h 2229"/>
                  <a:gd name="T22" fmla="*/ 211 w 3504"/>
                  <a:gd name="T23" fmla="*/ 205 h 2229"/>
                  <a:gd name="T24" fmla="*/ 499 w 3504"/>
                  <a:gd name="T25" fmla="*/ 1901 h 2229"/>
                  <a:gd name="T26" fmla="*/ 537 w 3504"/>
                  <a:gd name="T27" fmla="*/ 1954 h 2229"/>
                  <a:gd name="T28" fmla="*/ 590 w 3504"/>
                  <a:gd name="T29" fmla="*/ 1997 h 2229"/>
                  <a:gd name="T30" fmla="*/ 653 w 3504"/>
                  <a:gd name="T31" fmla="*/ 2022 h 2229"/>
                  <a:gd name="T32" fmla="*/ 2262 w 3504"/>
                  <a:gd name="T33" fmla="*/ 2025 h 2229"/>
                  <a:gd name="T34" fmla="*/ 2324 w 3504"/>
                  <a:gd name="T35" fmla="*/ 2012 h 2229"/>
                  <a:gd name="T36" fmla="*/ 2377 w 3504"/>
                  <a:gd name="T37" fmla="*/ 1979 h 2229"/>
                  <a:gd name="T38" fmla="*/ 2418 w 3504"/>
                  <a:gd name="T39" fmla="*/ 1930 h 2229"/>
                  <a:gd name="T40" fmla="*/ 2438 w 3504"/>
                  <a:gd name="T41" fmla="*/ 1872 h 2229"/>
                  <a:gd name="T42" fmla="*/ 211 w 3504"/>
                  <a:gd name="T43" fmla="*/ 205 h 2229"/>
                  <a:gd name="T44" fmla="*/ 2685 w 3504"/>
                  <a:gd name="T45" fmla="*/ 0 h 2229"/>
                  <a:gd name="T46" fmla="*/ 2743 w 3504"/>
                  <a:gd name="T47" fmla="*/ 10 h 2229"/>
                  <a:gd name="T48" fmla="*/ 2795 w 3504"/>
                  <a:gd name="T49" fmla="*/ 39 h 2229"/>
                  <a:gd name="T50" fmla="*/ 2834 w 3504"/>
                  <a:gd name="T51" fmla="*/ 83 h 2229"/>
                  <a:gd name="T52" fmla="*/ 2855 w 3504"/>
                  <a:gd name="T53" fmla="*/ 137 h 2229"/>
                  <a:gd name="T54" fmla="*/ 2857 w 3504"/>
                  <a:gd name="T55" fmla="*/ 196 h 2229"/>
                  <a:gd name="T56" fmla="*/ 3402 w 3504"/>
                  <a:gd name="T57" fmla="*/ 427 h 2229"/>
                  <a:gd name="T58" fmla="*/ 3443 w 3504"/>
                  <a:gd name="T59" fmla="*/ 437 h 2229"/>
                  <a:gd name="T60" fmla="*/ 3477 w 3504"/>
                  <a:gd name="T61" fmla="*/ 461 h 2229"/>
                  <a:gd name="T62" fmla="*/ 3499 w 3504"/>
                  <a:gd name="T63" fmla="*/ 497 h 2229"/>
                  <a:gd name="T64" fmla="*/ 3504 w 3504"/>
                  <a:gd name="T65" fmla="*/ 539 h 2229"/>
                  <a:gd name="T66" fmla="*/ 3493 w 3504"/>
                  <a:gd name="T67" fmla="*/ 620 h 2229"/>
                  <a:gd name="T68" fmla="*/ 3475 w 3504"/>
                  <a:gd name="T69" fmla="*/ 709 h 2229"/>
                  <a:gd name="T70" fmla="*/ 3448 w 3504"/>
                  <a:gd name="T71" fmla="*/ 804 h 2229"/>
                  <a:gd name="T72" fmla="*/ 3413 w 3504"/>
                  <a:gd name="T73" fmla="*/ 902 h 2229"/>
                  <a:gd name="T74" fmla="*/ 3369 w 3504"/>
                  <a:gd name="T75" fmla="*/ 999 h 2229"/>
                  <a:gd name="T76" fmla="*/ 3316 w 3504"/>
                  <a:gd name="T77" fmla="*/ 1096 h 2229"/>
                  <a:gd name="T78" fmla="*/ 3252 w 3504"/>
                  <a:gd name="T79" fmla="*/ 1186 h 2229"/>
                  <a:gd name="T80" fmla="*/ 3176 w 3504"/>
                  <a:gd name="T81" fmla="*/ 1271 h 2229"/>
                  <a:gd name="T82" fmla="*/ 3090 w 3504"/>
                  <a:gd name="T83" fmla="*/ 1346 h 2229"/>
                  <a:gd name="T84" fmla="*/ 2993 w 3504"/>
                  <a:gd name="T85" fmla="*/ 1409 h 2229"/>
                  <a:gd name="T86" fmla="*/ 2881 w 3504"/>
                  <a:gd name="T87" fmla="*/ 1458 h 2229"/>
                  <a:gd name="T88" fmla="*/ 2758 w 3504"/>
                  <a:gd name="T89" fmla="*/ 1490 h 2229"/>
                  <a:gd name="T90" fmla="*/ 2640 w 3504"/>
                  <a:gd name="T91" fmla="*/ 1897 h 2229"/>
                  <a:gd name="T92" fmla="*/ 2614 w 3504"/>
                  <a:gd name="T93" fmla="*/ 1994 h 2229"/>
                  <a:gd name="T94" fmla="*/ 2564 w 3504"/>
                  <a:gd name="T95" fmla="*/ 2078 h 2229"/>
                  <a:gd name="T96" fmla="*/ 2495 w 3504"/>
                  <a:gd name="T97" fmla="*/ 2148 h 2229"/>
                  <a:gd name="T98" fmla="*/ 2410 w 3504"/>
                  <a:gd name="T99" fmla="*/ 2199 h 2229"/>
                  <a:gd name="T100" fmla="*/ 2313 w 3504"/>
                  <a:gd name="T101" fmla="*/ 2226 h 2229"/>
                  <a:gd name="T102" fmla="*/ 685 w 3504"/>
                  <a:gd name="T103" fmla="*/ 2229 h 2229"/>
                  <a:gd name="T104" fmla="*/ 588 w 3504"/>
                  <a:gd name="T105" fmla="*/ 2215 h 2229"/>
                  <a:gd name="T106" fmla="*/ 495 w 3504"/>
                  <a:gd name="T107" fmla="*/ 2178 h 2229"/>
                  <a:gd name="T108" fmla="*/ 415 w 3504"/>
                  <a:gd name="T109" fmla="*/ 2120 h 2229"/>
                  <a:gd name="T110" fmla="*/ 348 w 3504"/>
                  <a:gd name="T111" fmla="*/ 2045 h 2229"/>
                  <a:gd name="T112" fmla="*/ 303 w 3504"/>
                  <a:gd name="T113" fmla="*/ 1957 h 2229"/>
                  <a:gd name="T114" fmla="*/ 3 w 3504"/>
                  <a:gd name="T115" fmla="*/ 199 h 2229"/>
                  <a:gd name="T116" fmla="*/ 1 w 3504"/>
                  <a:gd name="T117" fmla="*/ 142 h 2229"/>
                  <a:gd name="T118" fmla="*/ 20 w 3504"/>
                  <a:gd name="T119" fmla="*/ 86 h 2229"/>
                  <a:gd name="T120" fmla="*/ 57 w 3504"/>
                  <a:gd name="T121" fmla="*/ 40 h 2229"/>
                  <a:gd name="T122" fmla="*/ 108 w 3504"/>
                  <a:gd name="T123" fmla="*/ 11 h 2229"/>
                  <a:gd name="T124" fmla="*/ 168 w 3504"/>
                  <a:gd name="T125" fmla="*/ 0 h 2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504" h="2229">
                    <a:moveTo>
                      <a:pt x="2801" y="632"/>
                    </a:moveTo>
                    <a:lnTo>
                      <a:pt x="2718" y="1291"/>
                    </a:lnTo>
                    <a:lnTo>
                      <a:pt x="2773" y="1278"/>
                    </a:lnTo>
                    <a:lnTo>
                      <a:pt x="2827" y="1262"/>
                    </a:lnTo>
                    <a:lnTo>
                      <a:pt x="2876" y="1241"/>
                    </a:lnTo>
                    <a:lnTo>
                      <a:pt x="2921" y="1215"/>
                    </a:lnTo>
                    <a:lnTo>
                      <a:pt x="2963" y="1187"/>
                    </a:lnTo>
                    <a:lnTo>
                      <a:pt x="3002" y="1157"/>
                    </a:lnTo>
                    <a:lnTo>
                      <a:pt x="3038" y="1124"/>
                    </a:lnTo>
                    <a:lnTo>
                      <a:pt x="3071" y="1088"/>
                    </a:lnTo>
                    <a:lnTo>
                      <a:pt x="3101" y="1050"/>
                    </a:lnTo>
                    <a:lnTo>
                      <a:pt x="3129" y="1011"/>
                    </a:lnTo>
                    <a:lnTo>
                      <a:pt x="3153" y="972"/>
                    </a:lnTo>
                    <a:lnTo>
                      <a:pt x="3176" y="931"/>
                    </a:lnTo>
                    <a:lnTo>
                      <a:pt x="3196" y="889"/>
                    </a:lnTo>
                    <a:lnTo>
                      <a:pt x="3213" y="849"/>
                    </a:lnTo>
                    <a:lnTo>
                      <a:pt x="3230" y="809"/>
                    </a:lnTo>
                    <a:lnTo>
                      <a:pt x="3244" y="770"/>
                    </a:lnTo>
                    <a:lnTo>
                      <a:pt x="3255" y="733"/>
                    </a:lnTo>
                    <a:lnTo>
                      <a:pt x="3266" y="697"/>
                    </a:lnTo>
                    <a:lnTo>
                      <a:pt x="3274" y="663"/>
                    </a:lnTo>
                    <a:lnTo>
                      <a:pt x="3282" y="632"/>
                    </a:lnTo>
                    <a:lnTo>
                      <a:pt x="2801" y="632"/>
                    </a:lnTo>
                    <a:close/>
                    <a:moveTo>
                      <a:pt x="211" y="205"/>
                    </a:moveTo>
                    <a:lnTo>
                      <a:pt x="490" y="1871"/>
                    </a:lnTo>
                    <a:lnTo>
                      <a:pt x="499" y="1901"/>
                    </a:lnTo>
                    <a:lnTo>
                      <a:pt x="516" y="1929"/>
                    </a:lnTo>
                    <a:lnTo>
                      <a:pt x="537" y="1954"/>
                    </a:lnTo>
                    <a:lnTo>
                      <a:pt x="562" y="1978"/>
                    </a:lnTo>
                    <a:lnTo>
                      <a:pt x="590" y="1997"/>
                    </a:lnTo>
                    <a:lnTo>
                      <a:pt x="621" y="2012"/>
                    </a:lnTo>
                    <a:lnTo>
                      <a:pt x="653" y="2022"/>
                    </a:lnTo>
                    <a:lnTo>
                      <a:pt x="685" y="2025"/>
                    </a:lnTo>
                    <a:lnTo>
                      <a:pt x="2262" y="2025"/>
                    </a:lnTo>
                    <a:lnTo>
                      <a:pt x="2294" y="2022"/>
                    </a:lnTo>
                    <a:lnTo>
                      <a:pt x="2324" y="2012"/>
                    </a:lnTo>
                    <a:lnTo>
                      <a:pt x="2352" y="1998"/>
                    </a:lnTo>
                    <a:lnTo>
                      <a:pt x="2377" y="1979"/>
                    </a:lnTo>
                    <a:lnTo>
                      <a:pt x="2399" y="1957"/>
                    </a:lnTo>
                    <a:lnTo>
                      <a:pt x="2418" y="1930"/>
                    </a:lnTo>
                    <a:lnTo>
                      <a:pt x="2431" y="1902"/>
                    </a:lnTo>
                    <a:lnTo>
                      <a:pt x="2438" y="1872"/>
                    </a:lnTo>
                    <a:lnTo>
                      <a:pt x="2650" y="205"/>
                    </a:lnTo>
                    <a:lnTo>
                      <a:pt x="211" y="205"/>
                    </a:lnTo>
                    <a:close/>
                    <a:moveTo>
                      <a:pt x="168" y="0"/>
                    </a:moveTo>
                    <a:lnTo>
                      <a:pt x="2685" y="0"/>
                    </a:lnTo>
                    <a:lnTo>
                      <a:pt x="2715" y="3"/>
                    </a:lnTo>
                    <a:lnTo>
                      <a:pt x="2743" y="10"/>
                    </a:lnTo>
                    <a:lnTo>
                      <a:pt x="2771" y="22"/>
                    </a:lnTo>
                    <a:lnTo>
                      <a:pt x="2795" y="39"/>
                    </a:lnTo>
                    <a:lnTo>
                      <a:pt x="2816" y="58"/>
                    </a:lnTo>
                    <a:lnTo>
                      <a:pt x="2834" y="83"/>
                    </a:lnTo>
                    <a:lnTo>
                      <a:pt x="2847" y="108"/>
                    </a:lnTo>
                    <a:lnTo>
                      <a:pt x="2855" y="137"/>
                    </a:lnTo>
                    <a:lnTo>
                      <a:pt x="2858" y="166"/>
                    </a:lnTo>
                    <a:lnTo>
                      <a:pt x="2857" y="196"/>
                    </a:lnTo>
                    <a:lnTo>
                      <a:pt x="2828" y="427"/>
                    </a:lnTo>
                    <a:lnTo>
                      <a:pt x="3402" y="427"/>
                    </a:lnTo>
                    <a:lnTo>
                      <a:pt x="3424" y="430"/>
                    </a:lnTo>
                    <a:lnTo>
                      <a:pt x="3443" y="437"/>
                    </a:lnTo>
                    <a:lnTo>
                      <a:pt x="3462" y="447"/>
                    </a:lnTo>
                    <a:lnTo>
                      <a:pt x="3477" y="461"/>
                    </a:lnTo>
                    <a:lnTo>
                      <a:pt x="3490" y="478"/>
                    </a:lnTo>
                    <a:lnTo>
                      <a:pt x="3499" y="497"/>
                    </a:lnTo>
                    <a:lnTo>
                      <a:pt x="3504" y="518"/>
                    </a:lnTo>
                    <a:lnTo>
                      <a:pt x="3504" y="539"/>
                    </a:lnTo>
                    <a:lnTo>
                      <a:pt x="3499" y="578"/>
                    </a:lnTo>
                    <a:lnTo>
                      <a:pt x="3493" y="620"/>
                    </a:lnTo>
                    <a:lnTo>
                      <a:pt x="3485" y="664"/>
                    </a:lnTo>
                    <a:lnTo>
                      <a:pt x="3475" y="709"/>
                    </a:lnTo>
                    <a:lnTo>
                      <a:pt x="3462" y="757"/>
                    </a:lnTo>
                    <a:lnTo>
                      <a:pt x="3448" y="804"/>
                    </a:lnTo>
                    <a:lnTo>
                      <a:pt x="3432" y="853"/>
                    </a:lnTo>
                    <a:lnTo>
                      <a:pt x="3413" y="902"/>
                    </a:lnTo>
                    <a:lnTo>
                      <a:pt x="3392" y="951"/>
                    </a:lnTo>
                    <a:lnTo>
                      <a:pt x="3369" y="999"/>
                    </a:lnTo>
                    <a:lnTo>
                      <a:pt x="3344" y="1048"/>
                    </a:lnTo>
                    <a:lnTo>
                      <a:pt x="3316" y="1096"/>
                    </a:lnTo>
                    <a:lnTo>
                      <a:pt x="3284" y="1142"/>
                    </a:lnTo>
                    <a:lnTo>
                      <a:pt x="3252" y="1186"/>
                    </a:lnTo>
                    <a:lnTo>
                      <a:pt x="3216" y="1230"/>
                    </a:lnTo>
                    <a:lnTo>
                      <a:pt x="3176" y="1271"/>
                    </a:lnTo>
                    <a:lnTo>
                      <a:pt x="3135" y="1310"/>
                    </a:lnTo>
                    <a:lnTo>
                      <a:pt x="3090" y="1346"/>
                    </a:lnTo>
                    <a:lnTo>
                      <a:pt x="3043" y="1379"/>
                    </a:lnTo>
                    <a:lnTo>
                      <a:pt x="2993" y="1409"/>
                    </a:lnTo>
                    <a:lnTo>
                      <a:pt x="2938" y="1436"/>
                    </a:lnTo>
                    <a:lnTo>
                      <a:pt x="2881" y="1458"/>
                    </a:lnTo>
                    <a:lnTo>
                      <a:pt x="2821" y="1476"/>
                    </a:lnTo>
                    <a:lnTo>
                      <a:pt x="2758" y="1490"/>
                    </a:lnTo>
                    <a:lnTo>
                      <a:pt x="2691" y="1498"/>
                    </a:lnTo>
                    <a:lnTo>
                      <a:pt x="2640" y="1897"/>
                    </a:lnTo>
                    <a:lnTo>
                      <a:pt x="2630" y="1946"/>
                    </a:lnTo>
                    <a:lnTo>
                      <a:pt x="2614" y="1994"/>
                    </a:lnTo>
                    <a:lnTo>
                      <a:pt x="2591" y="2038"/>
                    </a:lnTo>
                    <a:lnTo>
                      <a:pt x="2564" y="2078"/>
                    </a:lnTo>
                    <a:lnTo>
                      <a:pt x="2531" y="2116"/>
                    </a:lnTo>
                    <a:lnTo>
                      <a:pt x="2495" y="2148"/>
                    </a:lnTo>
                    <a:lnTo>
                      <a:pt x="2453" y="2176"/>
                    </a:lnTo>
                    <a:lnTo>
                      <a:pt x="2410" y="2199"/>
                    </a:lnTo>
                    <a:lnTo>
                      <a:pt x="2362" y="2215"/>
                    </a:lnTo>
                    <a:lnTo>
                      <a:pt x="2313" y="2226"/>
                    </a:lnTo>
                    <a:lnTo>
                      <a:pt x="2262" y="2229"/>
                    </a:lnTo>
                    <a:lnTo>
                      <a:pt x="685" y="2229"/>
                    </a:lnTo>
                    <a:lnTo>
                      <a:pt x="636" y="2226"/>
                    </a:lnTo>
                    <a:lnTo>
                      <a:pt x="588" y="2215"/>
                    </a:lnTo>
                    <a:lnTo>
                      <a:pt x="540" y="2200"/>
                    </a:lnTo>
                    <a:lnTo>
                      <a:pt x="495" y="2178"/>
                    </a:lnTo>
                    <a:lnTo>
                      <a:pt x="453" y="2152"/>
                    </a:lnTo>
                    <a:lnTo>
                      <a:pt x="415" y="2120"/>
                    </a:lnTo>
                    <a:lnTo>
                      <a:pt x="380" y="2084"/>
                    </a:lnTo>
                    <a:lnTo>
                      <a:pt x="348" y="2045"/>
                    </a:lnTo>
                    <a:lnTo>
                      <a:pt x="323" y="2003"/>
                    </a:lnTo>
                    <a:lnTo>
                      <a:pt x="303" y="1957"/>
                    </a:lnTo>
                    <a:lnTo>
                      <a:pt x="289" y="1909"/>
                    </a:lnTo>
                    <a:lnTo>
                      <a:pt x="3" y="199"/>
                    </a:lnTo>
                    <a:lnTo>
                      <a:pt x="0" y="170"/>
                    </a:lnTo>
                    <a:lnTo>
                      <a:pt x="1" y="142"/>
                    </a:lnTo>
                    <a:lnTo>
                      <a:pt x="8" y="113"/>
                    </a:lnTo>
                    <a:lnTo>
                      <a:pt x="20" y="86"/>
                    </a:lnTo>
                    <a:lnTo>
                      <a:pt x="37" y="61"/>
                    </a:lnTo>
                    <a:lnTo>
                      <a:pt x="57" y="40"/>
                    </a:lnTo>
                    <a:lnTo>
                      <a:pt x="81" y="22"/>
                    </a:lnTo>
                    <a:lnTo>
                      <a:pt x="108" y="11"/>
                    </a:lnTo>
                    <a:lnTo>
                      <a:pt x="138" y="3"/>
                    </a:lnTo>
                    <a:lnTo>
                      <a:pt x="168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8"/>
              <p:cNvSpPr>
                <a:spLocks/>
              </p:cNvSpPr>
              <p:nvPr/>
            </p:nvSpPr>
            <p:spPr bwMode="black">
              <a:xfrm>
                <a:off x="3154363" y="2217738"/>
                <a:ext cx="92075" cy="295275"/>
              </a:xfrm>
              <a:custGeom>
                <a:avLst/>
                <a:gdLst>
                  <a:gd name="T0" fmla="*/ 192 w 408"/>
                  <a:gd name="T1" fmla="*/ 3 h 1305"/>
                  <a:gd name="T2" fmla="*/ 233 w 408"/>
                  <a:gd name="T3" fmla="*/ 24 h 1305"/>
                  <a:gd name="T4" fmla="*/ 249 w 408"/>
                  <a:gd name="T5" fmla="*/ 39 h 1305"/>
                  <a:gd name="T6" fmla="*/ 279 w 408"/>
                  <a:gd name="T7" fmla="*/ 68 h 1305"/>
                  <a:gd name="T8" fmla="*/ 315 w 408"/>
                  <a:gd name="T9" fmla="*/ 111 h 1305"/>
                  <a:gd name="T10" fmla="*/ 352 w 408"/>
                  <a:gd name="T11" fmla="*/ 164 h 1305"/>
                  <a:gd name="T12" fmla="*/ 384 w 408"/>
                  <a:gd name="T13" fmla="*/ 228 h 1305"/>
                  <a:gd name="T14" fmla="*/ 403 w 408"/>
                  <a:gd name="T15" fmla="*/ 300 h 1305"/>
                  <a:gd name="T16" fmla="*/ 407 w 408"/>
                  <a:gd name="T17" fmla="*/ 363 h 1305"/>
                  <a:gd name="T18" fmla="*/ 399 w 408"/>
                  <a:gd name="T19" fmla="*/ 416 h 1305"/>
                  <a:gd name="T20" fmla="*/ 377 w 408"/>
                  <a:gd name="T21" fmla="*/ 476 h 1305"/>
                  <a:gd name="T22" fmla="*/ 335 w 408"/>
                  <a:gd name="T23" fmla="*/ 539 h 1305"/>
                  <a:gd name="T24" fmla="*/ 284 w 408"/>
                  <a:gd name="T25" fmla="*/ 595 h 1305"/>
                  <a:gd name="T26" fmla="*/ 247 w 408"/>
                  <a:gd name="T27" fmla="*/ 661 h 1305"/>
                  <a:gd name="T28" fmla="*/ 220 w 408"/>
                  <a:gd name="T29" fmla="*/ 744 h 1305"/>
                  <a:gd name="T30" fmla="*/ 206 w 408"/>
                  <a:gd name="T31" fmla="*/ 839 h 1305"/>
                  <a:gd name="T32" fmla="*/ 205 w 408"/>
                  <a:gd name="T33" fmla="*/ 939 h 1305"/>
                  <a:gd name="T34" fmla="*/ 214 w 408"/>
                  <a:gd name="T35" fmla="*/ 1011 h 1305"/>
                  <a:gd name="T36" fmla="*/ 229 w 408"/>
                  <a:gd name="T37" fmla="*/ 1062 h 1305"/>
                  <a:gd name="T38" fmla="*/ 244 w 408"/>
                  <a:gd name="T39" fmla="*/ 1093 h 1305"/>
                  <a:gd name="T40" fmla="*/ 276 w 408"/>
                  <a:gd name="T41" fmla="*/ 1109 h 1305"/>
                  <a:gd name="T42" fmla="*/ 315 w 408"/>
                  <a:gd name="T43" fmla="*/ 1139 h 1305"/>
                  <a:gd name="T44" fmla="*/ 337 w 408"/>
                  <a:gd name="T45" fmla="*/ 1184 h 1305"/>
                  <a:gd name="T46" fmla="*/ 334 w 408"/>
                  <a:gd name="T47" fmla="*/ 1235 h 1305"/>
                  <a:gd name="T48" fmla="*/ 306 w 408"/>
                  <a:gd name="T49" fmla="*/ 1278 h 1305"/>
                  <a:gd name="T50" fmla="*/ 263 w 408"/>
                  <a:gd name="T51" fmla="*/ 1301 h 1305"/>
                  <a:gd name="T52" fmla="*/ 229 w 408"/>
                  <a:gd name="T53" fmla="*/ 1305 h 1305"/>
                  <a:gd name="T54" fmla="*/ 199 w 408"/>
                  <a:gd name="T55" fmla="*/ 1300 h 1305"/>
                  <a:gd name="T56" fmla="*/ 162 w 408"/>
                  <a:gd name="T57" fmla="*/ 1287 h 1305"/>
                  <a:gd name="T58" fmla="*/ 124 w 408"/>
                  <a:gd name="T59" fmla="*/ 1263 h 1305"/>
                  <a:gd name="T60" fmla="*/ 85 w 408"/>
                  <a:gd name="T61" fmla="*/ 1222 h 1305"/>
                  <a:gd name="T62" fmla="*/ 50 w 408"/>
                  <a:gd name="T63" fmla="*/ 1164 h 1305"/>
                  <a:gd name="T64" fmla="*/ 24 w 408"/>
                  <a:gd name="T65" fmla="*/ 1091 h 1305"/>
                  <a:gd name="T66" fmla="*/ 7 w 408"/>
                  <a:gd name="T67" fmla="*/ 1009 h 1305"/>
                  <a:gd name="T68" fmla="*/ 0 w 408"/>
                  <a:gd name="T69" fmla="*/ 916 h 1305"/>
                  <a:gd name="T70" fmla="*/ 4 w 408"/>
                  <a:gd name="T71" fmla="*/ 819 h 1305"/>
                  <a:gd name="T72" fmla="*/ 18 w 408"/>
                  <a:gd name="T73" fmla="*/ 719 h 1305"/>
                  <a:gd name="T74" fmla="*/ 43 w 408"/>
                  <a:gd name="T75" fmla="*/ 622 h 1305"/>
                  <a:gd name="T76" fmla="*/ 82 w 408"/>
                  <a:gd name="T77" fmla="*/ 533 h 1305"/>
                  <a:gd name="T78" fmla="*/ 134 w 408"/>
                  <a:gd name="T79" fmla="*/ 454 h 1305"/>
                  <a:gd name="T80" fmla="*/ 180 w 408"/>
                  <a:gd name="T81" fmla="*/ 405 h 1305"/>
                  <a:gd name="T82" fmla="*/ 198 w 408"/>
                  <a:gd name="T83" fmla="*/ 376 h 1305"/>
                  <a:gd name="T84" fmla="*/ 204 w 408"/>
                  <a:gd name="T85" fmla="*/ 354 h 1305"/>
                  <a:gd name="T86" fmla="*/ 200 w 408"/>
                  <a:gd name="T87" fmla="*/ 323 h 1305"/>
                  <a:gd name="T88" fmla="*/ 182 w 408"/>
                  <a:gd name="T89" fmla="*/ 278 h 1305"/>
                  <a:gd name="T90" fmla="*/ 155 w 408"/>
                  <a:gd name="T91" fmla="*/ 236 h 1305"/>
                  <a:gd name="T92" fmla="*/ 125 w 408"/>
                  <a:gd name="T93" fmla="*/ 202 h 1305"/>
                  <a:gd name="T94" fmla="*/ 103 w 408"/>
                  <a:gd name="T95" fmla="*/ 180 h 1305"/>
                  <a:gd name="T96" fmla="*/ 75 w 408"/>
                  <a:gd name="T97" fmla="*/ 144 h 1305"/>
                  <a:gd name="T98" fmla="*/ 65 w 408"/>
                  <a:gd name="T99" fmla="*/ 100 h 1305"/>
                  <a:gd name="T100" fmla="*/ 77 w 408"/>
                  <a:gd name="T101" fmla="*/ 57 h 1305"/>
                  <a:gd name="T102" fmla="*/ 106 w 408"/>
                  <a:gd name="T103" fmla="*/ 21 h 1305"/>
                  <a:gd name="T104" fmla="*/ 147 w 408"/>
                  <a:gd name="T105" fmla="*/ 3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8" h="1305">
                    <a:moveTo>
                      <a:pt x="170" y="0"/>
                    </a:moveTo>
                    <a:lnTo>
                      <a:pt x="192" y="3"/>
                    </a:lnTo>
                    <a:lnTo>
                      <a:pt x="213" y="11"/>
                    </a:lnTo>
                    <a:lnTo>
                      <a:pt x="233" y="24"/>
                    </a:lnTo>
                    <a:lnTo>
                      <a:pt x="239" y="29"/>
                    </a:lnTo>
                    <a:lnTo>
                      <a:pt x="249" y="39"/>
                    </a:lnTo>
                    <a:lnTo>
                      <a:pt x="263" y="52"/>
                    </a:lnTo>
                    <a:lnTo>
                      <a:pt x="279" y="68"/>
                    </a:lnTo>
                    <a:lnTo>
                      <a:pt x="297" y="88"/>
                    </a:lnTo>
                    <a:lnTo>
                      <a:pt x="315" y="111"/>
                    </a:lnTo>
                    <a:lnTo>
                      <a:pt x="334" y="136"/>
                    </a:lnTo>
                    <a:lnTo>
                      <a:pt x="352" y="164"/>
                    </a:lnTo>
                    <a:lnTo>
                      <a:pt x="369" y="195"/>
                    </a:lnTo>
                    <a:lnTo>
                      <a:pt x="384" y="228"/>
                    </a:lnTo>
                    <a:lnTo>
                      <a:pt x="395" y="263"/>
                    </a:lnTo>
                    <a:lnTo>
                      <a:pt x="403" y="300"/>
                    </a:lnTo>
                    <a:lnTo>
                      <a:pt x="408" y="338"/>
                    </a:lnTo>
                    <a:lnTo>
                      <a:pt x="407" y="363"/>
                    </a:lnTo>
                    <a:lnTo>
                      <a:pt x="405" y="388"/>
                    </a:lnTo>
                    <a:lnTo>
                      <a:pt x="399" y="416"/>
                    </a:lnTo>
                    <a:lnTo>
                      <a:pt x="391" y="445"/>
                    </a:lnTo>
                    <a:lnTo>
                      <a:pt x="377" y="476"/>
                    </a:lnTo>
                    <a:lnTo>
                      <a:pt x="359" y="508"/>
                    </a:lnTo>
                    <a:lnTo>
                      <a:pt x="335" y="539"/>
                    </a:lnTo>
                    <a:lnTo>
                      <a:pt x="306" y="570"/>
                    </a:lnTo>
                    <a:lnTo>
                      <a:pt x="284" y="595"/>
                    </a:lnTo>
                    <a:lnTo>
                      <a:pt x="264" y="625"/>
                    </a:lnTo>
                    <a:lnTo>
                      <a:pt x="247" y="661"/>
                    </a:lnTo>
                    <a:lnTo>
                      <a:pt x="232" y="701"/>
                    </a:lnTo>
                    <a:lnTo>
                      <a:pt x="220" y="744"/>
                    </a:lnTo>
                    <a:lnTo>
                      <a:pt x="212" y="791"/>
                    </a:lnTo>
                    <a:lnTo>
                      <a:pt x="206" y="839"/>
                    </a:lnTo>
                    <a:lnTo>
                      <a:pt x="204" y="889"/>
                    </a:lnTo>
                    <a:lnTo>
                      <a:pt x="205" y="939"/>
                    </a:lnTo>
                    <a:lnTo>
                      <a:pt x="208" y="977"/>
                    </a:lnTo>
                    <a:lnTo>
                      <a:pt x="214" y="1011"/>
                    </a:lnTo>
                    <a:lnTo>
                      <a:pt x="221" y="1039"/>
                    </a:lnTo>
                    <a:lnTo>
                      <a:pt x="229" y="1062"/>
                    </a:lnTo>
                    <a:lnTo>
                      <a:pt x="236" y="1081"/>
                    </a:lnTo>
                    <a:lnTo>
                      <a:pt x="244" y="1093"/>
                    </a:lnTo>
                    <a:lnTo>
                      <a:pt x="250" y="1102"/>
                    </a:lnTo>
                    <a:lnTo>
                      <a:pt x="276" y="1109"/>
                    </a:lnTo>
                    <a:lnTo>
                      <a:pt x="298" y="1121"/>
                    </a:lnTo>
                    <a:lnTo>
                      <a:pt x="315" y="1139"/>
                    </a:lnTo>
                    <a:lnTo>
                      <a:pt x="329" y="1160"/>
                    </a:lnTo>
                    <a:lnTo>
                      <a:pt x="337" y="1184"/>
                    </a:lnTo>
                    <a:lnTo>
                      <a:pt x="338" y="1210"/>
                    </a:lnTo>
                    <a:lnTo>
                      <a:pt x="334" y="1235"/>
                    </a:lnTo>
                    <a:lnTo>
                      <a:pt x="322" y="1258"/>
                    </a:lnTo>
                    <a:lnTo>
                      <a:pt x="306" y="1278"/>
                    </a:lnTo>
                    <a:lnTo>
                      <a:pt x="286" y="1292"/>
                    </a:lnTo>
                    <a:lnTo>
                      <a:pt x="263" y="1301"/>
                    </a:lnTo>
                    <a:lnTo>
                      <a:pt x="236" y="1305"/>
                    </a:lnTo>
                    <a:lnTo>
                      <a:pt x="229" y="1305"/>
                    </a:lnTo>
                    <a:lnTo>
                      <a:pt x="215" y="1304"/>
                    </a:lnTo>
                    <a:lnTo>
                      <a:pt x="199" y="1300"/>
                    </a:lnTo>
                    <a:lnTo>
                      <a:pt x="180" y="1295"/>
                    </a:lnTo>
                    <a:lnTo>
                      <a:pt x="162" y="1287"/>
                    </a:lnTo>
                    <a:lnTo>
                      <a:pt x="143" y="1277"/>
                    </a:lnTo>
                    <a:lnTo>
                      <a:pt x="124" y="1263"/>
                    </a:lnTo>
                    <a:lnTo>
                      <a:pt x="104" y="1244"/>
                    </a:lnTo>
                    <a:lnTo>
                      <a:pt x="85" y="1222"/>
                    </a:lnTo>
                    <a:lnTo>
                      <a:pt x="67" y="1197"/>
                    </a:lnTo>
                    <a:lnTo>
                      <a:pt x="50" y="1164"/>
                    </a:lnTo>
                    <a:lnTo>
                      <a:pt x="35" y="1127"/>
                    </a:lnTo>
                    <a:lnTo>
                      <a:pt x="24" y="1091"/>
                    </a:lnTo>
                    <a:lnTo>
                      <a:pt x="14" y="1052"/>
                    </a:lnTo>
                    <a:lnTo>
                      <a:pt x="7" y="1009"/>
                    </a:lnTo>
                    <a:lnTo>
                      <a:pt x="3" y="964"/>
                    </a:lnTo>
                    <a:lnTo>
                      <a:pt x="0" y="916"/>
                    </a:lnTo>
                    <a:lnTo>
                      <a:pt x="0" y="867"/>
                    </a:lnTo>
                    <a:lnTo>
                      <a:pt x="4" y="819"/>
                    </a:lnTo>
                    <a:lnTo>
                      <a:pt x="9" y="769"/>
                    </a:lnTo>
                    <a:lnTo>
                      <a:pt x="18" y="719"/>
                    </a:lnTo>
                    <a:lnTo>
                      <a:pt x="28" y="670"/>
                    </a:lnTo>
                    <a:lnTo>
                      <a:pt x="43" y="622"/>
                    </a:lnTo>
                    <a:lnTo>
                      <a:pt x="61" y="576"/>
                    </a:lnTo>
                    <a:lnTo>
                      <a:pt x="82" y="533"/>
                    </a:lnTo>
                    <a:lnTo>
                      <a:pt x="106" y="492"/>
                    </a:lnTo>
                    <a:lnTo>
                      <a:pt x="134" y="454"/>
                    </a:lnTo>
                    <a:lnTo>
                      <a:pt x="165" y="422"/>
                    </a:lnTo>
                    <a:lnTo>
                      <a:pt x="180" y="405"/>
                    </a:lnTo>
                    <a:lnTo>
                      <a:pt x="191" y="390"/>
                    </a:lnTo>
                    <a:lnTo>
                      <a:pt x="198" y="376"/>
                    </a:lnTo>
                    <a:lnTo>
                      <a:pt x="201" y="365"/>
                    </a:lnTo>
                    <a:lnTo>
                      <a:pt x="204" y="354"/>
                    </a:lnTo>
                    <a:lnTo>
                      <a:pt x="204" y="345"/>
                    </a:lnTo>
                    <a:lnTo>
                      <a:pt x="200" y="323"/>
                    </a:lnTo>
                    <a:lnTo>
                      <a:pt x="193" y="300"/>
                    </a:lnTo>
                    <a:lnTo>
                      <a:pt x="182" y="278"/>
                    </a:lnTo>
                    <a:lnTo>
                      <a:pt x="169" y="257"/>
                    </a:lnTo>
                    <a:lnTo>
                      <a:pt x="155" y="236"/>
                    </a:lnTo>
                    <a:lnTo>
                      <a:pt x="140" y="219"/>
                    </a:lnTo>
                    <a:lnTo>
                      <a:pt x="125" y="202"/>
                    </a:lnTo>
                    <a:lnTo>
                      <a:pt x="112" y="190"/>
                    </a:lnTo>
                    <a:lnTo>
                      <a:pt x="103" y="180"/>
                    </a:lnTo>
                    <a:lnTo>
                      <a:pt x="86" y="164"/>
                    </a:lnTo>
                    <a:lnTo>
                      <a:pt x="75" y="144"/>
                    </a:lnTo>
                    <a:lnTo>
                      <a:pt x="68" y="122"/>
                    </a:lnTo>
                    <a:lnTo>
                      <a:pt x="65" y="100"/>
                    </a:lnTo>
                    <a:lnTo>
                      <a:pt x="69" y="78"/>
                    </a:lnTo>
                    <a:lnTo>
                      <a:pt x="77" y="57"/>
                    </a:lnTo>
                    <a:lnTo>
                      <a:pt x="90" y="38"/>
                    </a:lnTo>
                    <a:lnTo>
                      <a:pt x="106" y="21"/>
                    </a:lnTo>
                    <a:lnTo>
                      <a:pt x="126" y="10"/>
                    </a:lnTo>
                    <a:lnTo>
                      <a:pt x="147" y="3"/>
                    </a:lnTo>
                    <a:lnTo>
                      <a:pt x="17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9"/>
              <p:cNvSpPr>
                <a:spLocks/>
              </p:cNvSpPr>
              <p:nvPr/>
            </p:nvSpPr>
            <p:spPr bwMode="black">
              <a:xfrm>
                <a:off x="2986088" y="2217738"/>
                <a:ext cx="93662" cy="295275"/>
              </a:xfrm>
              <a:custGeom>
                <a:avLst/>
                <a:gdLst>
                  <a:gd name="T0" fmla="*/ 191 w 407"/>
                  <a:gd name="T1" fmla="*/ 3 h 1305"/>
                  <a:gd name="T2" fmla="*/ 232 w 407"/>
                  <a:gd name="T3" fmla="*/ 24 h 1305"/>
                  <a:gd name="T4" fmla="*/ 249 w 407"/>
                  <a:gd name="T5" fmla="*/ 39 h 1305"/>
                  <a:gd name="T6" fmla="*/ 278 w 407"/>
                  <a:gd name="T7" fmla="*/ 68 h 1305"/>
                  <a:gd name="T8" fmla="*/ 314 w 407"/>
                  <a:gd name="T9" fmla="*/ 111 h 1305"/>
                  <a:gd name="T10" fmla="*/ 351 w 407"/>
                  <a:gd name="T11" fmla="*/ 164 h 1305"/>
                  <a:gd name="T12" fmla="*/ 383 w 407"/>
                  <a:gd name="T13" fmla="*/ 228 h 1305"/>
                  <a:gd name="T14" fmla="*/ 403 w 407"/>
                  <a:gd name="T15" fmla="*/ 300 h 1305"/>
                  <a:gd name="T16" fmla="*/ 407 w 407"/>
                  <a:gd name="T17" fmla="*/ 363 h 1305"/>
                  <a:gd name="T18" fmla="*/ 398 w 407"/>
                  <a:gd name="T19" fmla="*/ 416 h 1305"/>
                  <a:gd name="T20" fmla="*/ 376 w 407"/>
                  <a:gd name="T21" fmla="*/ 476 h 1305"/>
                  <a:gd name="T22" fmla="*/ 335 w 407"/>
                  <a:gd name="T23" fmla="*/ 539 h 1305"/>
                  <a:gd name="T24" fmla="*/ 282 w 407"/>
                  <a:gd name="T25" fmla="*/ 595 h 1305"/>
                  <a:gd name="T26" fmla="*/ 246 w 407"/>
                  <a:gd name="T27" fmla="*/ 661 h 1305"/>
                  <a:gd name="T28" fmla="*/ 220 w 407"/>
                  <a:gd name="T29" fmla="*/ 744 h 1305"/>
                  <a:gd name="T30" fmla="*/ 205 w 407"/>
                  <a:gd name="T31" fmla="*/ 839 h 1305"/>
                  <a:gd name="T32" fmla="*/ 205 w 407"/>
                  <a:gd name="T33" fmla="*/ 939 h 1305"/>
                  <a:gd name="T34" fmla="*/ 214 w 407"/>
                  <a:gd name="T35" fmla="*/ 1011 h 1305"/>
                  <a:gd name="T36" fmla="*/ 228 w 407"/>
                  <a:gd name="T37" fmla="*/ 1062 h 1305"/>
                  <a:gd name="T38" fmla="*/ 243 w 407"/>
                  <a:gd name="T39" fmla="*/ 1093 h 1305"/>
                  <a:gd name="T40" fmla="*/ 274 w 407"/>
                  <a:gd name="T41" fmla="*/ 1109 h 1305"/>
                  <a:gd name="T42" fmla="*/ 315 w 407"/>
                  <a:gd name="T43" fmla="*/ 1139 h 1305"/>
                  <a:gd name="T44" fmla="*/ 336 w 407"/>
                  <a:gd name="T45" fmla="*/ 1184 h 1305"/>
                  <a:gd name="T46" fmla="*/ 332 w 407"/>
                  <a:gd name="T47" fmla="*/ 1235 h 1305"/>
                  <a:gd name="T48" fmla="*/ 306 w 407"/>
                  <a:gd name="T49" fmla="*/ 1278 h 1305"/>
                  <a:gd name="T50" fmla="*/ 261 w 407"/>
                  <a:gd name="T51" fmla="*/ 1301 h 1305"/>
                  <a:gd name="T52" fmla="*/ 229 w 407"/>
                  <a:gd name="T53" fmla="*/ 1305 h 1305"/>
                  <a:gd name="T54" fmla="*/ 198 w 407"/>
                  <a:gd name="T55" fmla="*/ 1300 h 1305"/>
                  <a:gd name="T56" fmla="*/ 162 w 407"/>
                  <a:gd name="T57" fmla="*/ 1287 h 1305"/>
                  <a:gd name="T58" fmla="*/ 123 w 407"/>
                  <a:gd name="T59" fmla="*/ 1263 h 1305"/>
                  <a:gd name="T60" fmla="*/ 85 w 407"/>
                  <a:gd name="T61" fmla="*/ 1222 h 1305"/>
                  <a:gd name="T62" fmla="*/ 50 w 407"/>
                  <a:gd name="T63" fmla="*/ 1164 h 1305"/>
                  <a:gd name="T64" fmla="*/ 23 w 407"/>
                  <a:gd name="T65" fmla="*/ 1091 h 1305"/>
                  <a:gd name="T66" fmla="*/ 7 w 407"/>
                  <a:gd name="T67" fmla="*/ 1009 h 1305"/>
                  <a:gd name="T68" fmla="*/ 0 w 407"/>
                  <a:gd name="T69" fmla="*/ 916 h 1305"/>
                  <a:gd name="T70" fmla="*/ 2 w 407"/>
                  <a:gd name="T71" fmla="*/ 819 h 1305"/>
                  <a:gd name="T72" fmla="*/ 16 w 407"/>
                  <a:gd name="T73" fmla="*/ 719 h 1305"/>
                  <a:gd name="T74" fmla="*/ 42 w 407"/>
                  <a:gd name="T75" fmla="*/ 622 h 1305"/>
                  <a:gd name="T76" fmla="*/ 80 w 407"/>
                  <a:gd name="T77" fmla="*/ 533 h 1305"/>
                  <a:gd name="T78" fmla="*/ 133 w 407"/>
                  <a:gd name="T79" fmla="*/ 454 h 1305"/>
                  <a:gd name="T80" fmla="*/ 179 w 407"/>
                  <a:gd name="T81" fmla="*/ 405 h 1305"/>
                  <a:gd name="T82" fmla="*/ 196 w 407"/>
                  <a:gd name="T83" fmla="*/ 376 h 1305"/>
                  <a:gd name="T84" fmla="*/ 202 w 407"/>
                  <a:gd name="T85" fmla="*/ 354 h 1305"/>
                  <a:gd name="T86" fmla="*/ 199 w 407"/>
                  <a:gd name="T87" fmla="*/ 322 h 1305"/>
                  <a:gd name="T88" fmla="*/ 180 w 407"/>
                  <a:gd name="T89" fmla="*/ 275 h 1305"/>
                  <a:gd name="T90" fmla="*/ 151 w 407"/>
                  <a:gd name="T91" fmla="*/ 234 h 1305"/>
                  <a:gd name="T92" fmla="*/ 122 w 407"/>
                  <a:gd name="T93" fmla="*/ 201 h 1305"/>
                  <a:gd name="T94" fmla="*/ 102 w 407"/>
                  <a:gd name="T95" fmla="*/ 181 h 1305"/>
                  <a:gd name="T96" fmla="*/ 73 w 407"/>
                  <a:gd name="T97" fmla="*/ 144 h 1305"/>
                  <a:gd name="T98" fmla="*/ 65 w 407"/>
                  <a:gd name="T99" fmla="*/ 101 h 1305"/>
                  <a:gd name="T100" fmla="*/ 76 w 407"/>
                  <a:gd name="T101" fmla="*/ 57 h 1305"/>
                  <a:gd name="T102" fmla="*/ 105 w 407"/>
                  <a:gd name="T103" fmla="*/ 21 h 1305"/>
                  <a:gd name="T104" fmla="*/ 146 w 407"/>
                  <a:gd name="T105" fmla="*/ 3 h 13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07" h="1305">
                    <a:moveTo>
                      <a:pt x="169" y="0"/>
                    </a:moveTo>
                    <a:lnTo>
                      <a:pt x="191" y="3"/>
                    </a:lnTo>
                    <a:lnTo>
                      <a:pt x="212" y="11"/>
                    </a:lnTo>
                    <a:lnTo>
                      <a:pt x="232" y="24"/>
                    </a:lnTo>
                    <a:lnTo>
                      <a:pt x="238" y="29"/>
                    </a:lnTo>
                    <a:lnTo>
                      <a:pt x="249" y="39"/>
                    </a:lnTo>
                    <a:lnTo>
                      <a:pt x="261" y="52"/>
                    </a:lnTo>
                    <a:lnTo>
                      <a:pt x="278" y="68"/>
                    </a:lnTo>
                    <a:lnTo>
                      <a:pt x="295" y="88"/>
                    </a:lnTo>
                    <a:lnTo>
                      <a:pt x="314" y="111"/>
                    </a:lnTo>
                    <a:lnTo>
                      <a:pt x="333" y="136"/>
                    </a:lnTo>
                    <a:lnTo>
                      <a:pt x="351" y="164"/>
                    </a:lnTo>
                    <a:lnTo>
                      <a:pt x="368" y="195"/>
                    </a:lnTo>
                    <a:lnTo>
                      <a:pt x="383" y="228"/>
                    </a:lnTo>
                    <a:lnTo>
                      <a:pt x="395" y="263"/>
                    </a:lnTo>
                    <a:lnTo>
                      <a:pt x="403" y="300"/>
                    </a:lnTo>
                    <a:lnTo>
                      <a:pt x="407" y="338"/>
                    </a:lnTo>
                    <a:lnTo>
                      <a:pt x="407" y="363"/>
                    </a:lnTo>
                    <a:lnTo>
                      <a:pt x="404" y="388"/>
                    </a:lnTo>
                    <a:lnTo>
                      <a:pt x="398" y="416"/>
                    </a:lnTo>
                    <a:lnTo>
                      <a:pt x="389" y="445"/>
                    </a:lnTo>
                    <a:lnTo>
                      <a:pt x="376" y="476"/>
                    </a:lnTo>
                    <a:lnTo>
                      <a:pt x="358" y="508"/>
                    </a:lnTo>
                    <a:lnTo>
                      <a:pt x="335" y="539"/>
                    </a:lnTo>
                    <a:lnTo>
                      <a:pt x="304" y="570"/>
                    </a:lnTo>
                    <a:lnTo>
                      <a:pt x="282" y="595"/>
                    </a:lnTo>
                    <a:lnTo>
                      <a:pt x="264" y="625"/>
                    </a:lnTo>
                    <a:lnTo>
                      <a:pt x="246" y="661"/>
                    </a:lnTo>
                    <a:lnTo>
                      <a:pt x="231" y="700"/>
                    </a:lnTo>
                    <a:lnTo>
                      <a:pt x="220" y="744"/>
                    </a:lnTo>
                    <a:lnTo>
                      <a:pt x="210" y="791"/>
                    </a:lnTo>
                    <a:lnTo>
                      <a:pt x="205" y="839"/>
                    </a:lnTo>
                    <a:lnTo>
                      <a:pt x="203" y="889"/>
                    </a:lnTo>
                    <a:lnTo>
                      <a:pt x="205" y="939"/>
                    </a:lnTo>
                    <a:lnTo>
                      <a:pt x="208" y="977"/>
                    </a:lnTo>
                    <a:lnTo>
                      <a:pt x="214" y="1011"/>
                    </a:lnTo>
                    <a:lnTo>
                      <a:pt x="221" y="1039"/>
                    </a:lnTo>
                    <a:lnTo>
                      <a:pt x="228" y="1062"/>
                    </a:lnTo>
                    <a:lnTo>
                      <a:pt x="236" y="1081"/>
                    </a:lnTo>
                    <a:lnTo>
                      <a:pt x="243" y="1093"/>
                    </a:lnTo>
                    <a:lnTo>
                      <a:pt x="249" y="1102"/>
                    </a:lnTo>
                    <a:lnTo>
                      <a:pt x="274" y="1109"/>
                    </a:lnTo>
                    <a:lnTo>
                      <a:pt x="296" y="1121"/>
                    </a:lnTo>
                    <a:lnTo>
                      <a:pt x="315" y="1139"/>
                    </a:lnTo>
                    <a:lnTo>
                      <a:pt x="328" y="1160"/>
                    </a:lnTo>
                    <a:lnTo>
                      <a:pt x="336" y="1184"/>
                    </a:lnTo>
                    <a:lnTo>
                      <a:pt x="338" y="1210"/>
                    </a:lnTo>
                    <a:lnTo>
                      <a:pt x="332" y="1235"/>
                    </a:lnTo>
                    <a:lnTo>
                      <a:pt x="322" y="1258"/>
                    </a:lnTo>
                    <a:lnTo>
                      <a:pt x="306" y="1278"/>
                    </a:lnTo>
                    <a:lnTo>
                      <a:pt x="285" y="1292"/>
                    </a:lnTo>
                    <a:lnTo>
                      <a:pt x="261" y="1301"/>
                    </a:lnTo>
                    <a:lnTo>
                      <a:pt x="236" y="1305"/>
                    </a:lnTo>
                    <a:lnTo>
                      <a:pt x="229" y="1305"/>
                    </a:lnTo>
                    <a:lnTo>
                      <a:pt x="214" y="1304"/>
                    </a:lnTo>
                    <a:lnTo>
                      <a:pt x="198" y="1300"/>
                    </a:lnTo>
                    <a:lnTo>
                      <a:pt x="180" y="1295"/>
                    </a:lnTo>
                    <a:lnTo>
                      <a:pt x="162" y="1287"/>
                    </a:lnTo>
                    <a:lnTo>
                      <a:pt x="142" y="1277"/>
                    </a:lnTo>
                    <a:lnTo>
                      <a:pt x="123" y="1263"/>
                    </a:lnTo>
                    <a:lnTo>
                      <a:pt x="104" y="1244"/>
                    </a:lnTo>
                    <a:lnTo>
                      <a:pt x="85" y="1222"/>
                    </a:lnTo>
                    <a:lnTo>
                      <a:pt x="66" y="1197"/>
                    </a:lnTo>
                    <a:lnTo>
                      <a:pt x="50" y="1164"/>
                    </a:lnTo>
                    <a:lnTo>
                      <a:pt x="34" y="1127"/>
                    </a:lnTo>
                    <a:lnTo>
                      <a:pt x="23" y="1091"/>
                    </a:lnTo>
                    <a:lnTo>
                      <a:pt x="14" y="1052"/>
                    </a:lnTo>
                    <a:lnTo>
                      <a:pt x="7" y="1009"/>
                    </a:lnTo>
                    <a:lnTo>
                      <a:pt x="2" y="964"/>
                    </a:lnTo>
                    <a:lnTo>
                      <a:pt x="0" y="916"/>
                    </a:lnTo>
                    <a:lnTo>
                      <a:pt x="0" y="868"/>
                    </a:lnTo>
                    <a:lnTo>
                      <a:pt x="2" y="819"/>
                    </a:lnTo>
                    <a:lnTo>
                      <a:pt x="8" y="769"/>
                    </a:lnTo>
                    <a:lnTo>
                      <a:pt x="16" y="719"/>
                    </a:lnTo>
                    <a:lnTo>
                      <a:pt x="28" y="670"/>
                    </a:lnTo>
                    <a:lnTo>
                      <a:pt x="42" y="622"/>
                    </a:lnTo>
                    <a:lnTo>
                      <a:pt x="59" y="576"/>
                    </a:lnTo>
                    <a:lnTo>
                      <a:pt x="80" y="533"/>
                    </a:lnTo>
                    <a:lnTo>
                      <a:pt x="105" y="492"/>
                    </a:lnTo>
                    <a:lnTo>
                      <a:pt x="133" y="454"/>
                    </a:lnTo>
                    <a:lnTo>
                      <a:pt x="164" y="422"/>
                    </a:lnTo>
                    <a:lnTo>
                      <a:pt x="179" y="405"/>
                    </a:lnTo>
                    <a:lnTo>
                      <a:pt x="189" y="390"/>
                    </a:lnTo>
                    <a:lnTo>
                      <a:pt x="196" y="376"/>
                    </a:lnTo>
                    <a:lnTo>
                      <a:pt x="201" y="365"/>
                    </a:lnTo>
                    <a:lnTo>
                      <a:pt x="202" y="354"/>
                    </a:lnTo>
                    <a:lnTo>
                      <a:pt x="202" y="345"/>
                    </a:lnTo>
                    <a:lnTo>
                      <a:pt x="199" y="322"/>
                    </a:lnTo>
                    <a:lnTo>
                      <a:pt x="192" y="299"/>
                    </a:lnTo>
                    <a:lnTo>
                      <a:pt x="180" y="275"/>
                    </a:lnTo>
                    <a:lnTo>
                      <a:pt x="166" y="253"/>
                    </a:lnTo>
                    <a:lnTo>
                      <a:pt x="151" y="234"/>
                    </a:lnTo>
                    <a:lnTo>
                      <a:pt x="136" y="216"/>
                    </a:lnTo>
                    <a:lnTo>
                      <a:pt x="122" y="201"/>
                    </a:lnTo>
                    <a:lnTo>
                      <a:pt x="110" y="188"/>
                    </a:lnTo>
                    <a:lnTo>
                      <a:pt x="102" y="181"/>
                    </a:lnTo>
                    <a:lnTo>
                      <a:pt x="85" y="164"/>
                    </a:lnTo>
                    <a:lnTo>
                      <a:pt x="73" y="144"/>
                    </a:lnTo>
                    <a:lnTo>
                      <a:pt x="66" y="123"/>
                    </a:lnTo>
                    <a:lnTo>
                      <a:pt x="65" y="101"/>
                    </a:lnTo>
                    <a:lnTo>
                      <a:pt x="68" y="78"/>
                    </a:lnTo>
                    <a:lnTo>
                      <a:pt x="76" y="57"/>
                    </a:lnTo>
                    <a:lnTo>
                      <a:pt x="88" y="38"/>
                    </a:lnTo>
                    <a:lnTo>
                      <a:pt x="105" y="21"/>
                    </a:lnTo>
                    <a:lnTo>
                      <a:pt x="124" y="10"/>
                    </a:lnTo>
                    <a:lnTo>
                      <a:pt x="146" y="3"/>
                    </a:lnTo>
                    <a:lnTo>
                      <a:pt x="169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>
                  <a:defRPr/>
                </a:pPr>
                <a:endParaRPr kern="0">
                  <a:solidFill>
                    <a:srgbClr val="000000"/>
                  </a:solidFill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34436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36259515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 bwMode="ltGray">
          <a:xfrm>
            <a:off x="0" y="3074991"/>
            <a:ext cx="667512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5400">
                <a:solidFill>
                  <a:prstClr val="white"/>
                </a:solidFill>
              </a:rPr>
              <a:t>Initiative  Updates</a:t>
            </a:r>
          </a:p>
        </p:txBody>
      </p:sp>
    </p:spTree>
    <p:extLst>
      <p:ext uri="{BB962C8B-B14F-4D97-AF65-F5344CB8AC3E}">
        <p14:creationId xmlns:p14="http://schemas.microsoft.com/office/powerpoint/2010/main" val="3667734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7694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16002" y="288928"/>
            <a:ext cx="10562167" cy="2778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1015999" y="5340210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/>
            </a:lvl3pPr>
            <a:lvl4pPr marL="361950" indent="-179388">
              <a:defRPr/>
            </a:lvl4pPr>
            <a:lvl5pPr marL="542925" indent="-179388">
              <a:defRPr/>
            </a:lvl5pPr>
            <a:lvl6pPr marL="714375" indent="-179388">
              <a:defRPr/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Picture Placeholder 33"/>
          <p:cNvSpPr>
            <a:spLocks noGrp="1"/>
          </p:cNvSpPr>
          <p:nvPr>
            <p:ph type="pic" sz="quarter" idx="10"/>
          </p:nvPr>
        </p:nvSpPr>
        <p:spPr>
          <a:xfrm>
            <a:off x="-1" y="1716088"/>
            <a:ext cx="12192001" cy="3430800"/>
          </a:xfrm>
          <a:prstGeom prst="rect">
            <a:avLst/>
          </a:prstGeom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16001" y="644950"/>
            <a:ext cx="10943167" cy="96636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10502902" y="28638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10" name="TextBox 35"/>
          <p:cNvSpPr txBox="1">
            <a:spLocks noChangeArrowheads="1"/>
          </p:cNvSpPr>
          <p:nvPr userDrawn="1"/>
        </p:nvSpPr>
        <p:spPr bwMode="auto">
          <a:xfrm>
            <a:off x="171451" y="28638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pic>
        <p:nvPicPr>
          <p:cNvPr id="11" name="Picture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1" y="5673728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37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3" name="Rectangle 1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15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7" name="TextBox 16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8" name="TextBox 17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9" name="TextBox 18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0" name="TextBox 19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1" name="TextBox 20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2" name="TextBox 21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0" name="Group 3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1" name="Rectangle 4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4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010389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1"/>
            <a:ext cx="12192000" cy="34290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Picture 3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0" y="5673726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36"/>
          <p:cNvSpPr txBox="1">
            <a:spLocks noChangeArrowheads="1"/>
          </p:cNvSpPr>
          <p:nvPr userDrawn="1"/>
        </p:nvSpPr>
        <p:spPr bwMode="auto">
          <a:xfrm>
            <a:off x="10502901" y="1063626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7" name="TextBox 37"/>
          <p:cNvSpPr txBox="1">
            <a:spLocks noChangeArrowheads="1"/>
          </p:cNvSpPr>
          <p:nvPr userDrawn="1"/>
        </p:nvSpPr>
        <p:spPr bwMode="auto">
          <a:xfrm>
            <a:off x="171451" y="1063626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8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9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9" name="Rectangle 3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-2"/>
            <a:ext cx="12192000" cy="406402"/>
          </a:xfrm>
          <a:prstGeom prst="rect">
            <a:avLst/>
          </a:prstGeom>
          <a:solidFill>
            <a:srgbClr val="00549E"/>
          </a:solidFill>
          <a:effectLst/>
        </p:spPr>
        <p:txBody>
          <a:bodyPr lIns="756000" tIns="72000" rIns="72000" bIns="36000" anchor="ctr">
            <a:noAutofit/>
          </a:bodyPr>
          <a:lstStyle>
            <a:lvl1pPr marL="0" indent="0">
              <a:spcBef>
                <a:spcPct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Business Unit</a:t>
            </a:r>
            <a:endParaRPr lang="en-GB" dirty="0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1015999" y="4850355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 marL="361950" indent="-179388">
              <a:defRPr>
                <a:solidFill>
                  <a:schemeClr val="tx1"/>
                </a:solidFill>
              </a:defRPr>
            </a:lvl4pPr>
            <a:lvl5pPr marL="542925" indent="-179388">
              <a:defRPr>
                <a:solidFill>
                  <a:schemeClr val="tx1"/>
                </a:solidFill>
              </a:defRPr>
            </a:lvl5pPr>
            <a:lvl6pPr marL="714375" indent="-179388">
              <a:defRPr>
                <a:solidFill>
                  <a:schemeClr val="tx1"/>
                </a:solidFill>
              </a:defRPr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/>
          </p:nvPr>
        </p:nvSpPr>
        <p:spPr>
          <a:xfrm>
            <a:off x="1015999" y="3552825"/>
            <a:ext cx="10943167" cy="113091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grpSp>
        <p:nvGrpSpPr>
          <p:cNvPr id="14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5" name="Rectangle 14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6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9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0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1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2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3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4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1" name="Group 40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2" name="Rectangle 41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4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9668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 bwMode="auto">
          <a:xfrm>
            <a:off x="0" y="3384000"/>
            <a:ext cx="12192000" cy="1188000"/>
          </a:xfrm>
          <a:solidFill>
            <a:schemeClr val="tx2"/>
          </a:solidFill>
        </p:spPr>
        <p:txBody>
          <a:bodyPr lIns="756000" rIns="180000" anchor="ctr"/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  <a:defRPr lang="en-GB" sz="2800" b="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342900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1015999" y="4850355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/>
            </a:lvl3pPr>
            <a:lvl4pPr marL="361950" indent="-179388">
              <a:defRPr/>
            </a:lvl4pPr>
            <a:lvl5pPr marL="542925" indent="-179388">
              <a:defRPr/>
            </a:lvl5pPr>
            <a:lvl6pPr marL="714375" indent="-179388">
              <a:defRPr/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1"/>
            <a:ext cx="12192000" cy="34337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9" name="Picture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1" y="5673728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37"/>
          <p:cNvSpPr txBox="1">
            <a:spLocks noChangeArrowheads="1"/>
          </p:cNvSpPr>
          <p:nvPr userDrawn="1"/>
        </p:nvSpPr>
        <p:spPr bwMode="auto">
          <a:xfrm>
            <a:off x="10502902" y="11112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11" name="TextBox 38"/>
          <p:cNvSpPr txBox="1">
            <a:spLocks noChangeArrowheads="1"/>
          </p:cNvSpPr>
          <p:nvPr userDrawn="1"/>
        </p:nvSpPr>
        <p:spPr bwMode="auto">
          <a:xfrm>
            <a:off x="171451" y="11112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13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4" name="Rectangle 1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8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9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0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1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2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3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0" name="Group 3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1" name="Rectangle 4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3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829438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8" y="1144589"/>
            <a:ext cx="10943167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96964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337302" y="1196975"/>
            <a:ext cx="5230284" cy="4824414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70660602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337302" y="1196976"/>
            <a:ext cx="5230284" cy="2337949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337302" y="3684233"/>
            <a:ext cx="5230284" cy="2337949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301817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335184" y="1144590"/>
            <a:ext cx="5232400" cy="4876799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23532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993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27617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3" name="Rectangle 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4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3" name="Straight Connector 1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7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8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9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0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1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2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4" name="Rectangle 2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25" name="Straight Connector 2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3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prstClr val="black"/>
                </a:solidFill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26572" y="6234113"/>
            <a:ext cx="146174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4423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wo Presenter Intro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0" y="0"/>
            <a:ext cx="12193588" cy="3706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 userDrawn="1"/>
        </p:nvSpPr>
        <p:spPr bwMode="ltGray">
          <a:xfrm>
            <a:off x="0" y="3074991"/>
            <a:ext cx="601472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5400">
                <a:solidFill>
                  <a:prstClr val="white"/>
                </a:solidFill>
              </a:rPr>
              <a:t>Team  Updates</a:t>
            </a:r>
          </a:p>
        </p:txBody>
      </p:sp>
    </p:spTree>
    <p:extLst>
      <p:ext uri="{BB962C8B-B14F-4D97-AF65-F5344CB8AC3E}">
        <p14:creationId xmlns:p14="http://schemas.microsoft.com/office/powerpoint/2010/main" val="1073254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3" name="Rectangle 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4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3" name="Straight Connector 1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7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8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9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0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1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2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4" name="Rectangle 2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25" name="Straight Connector 2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487435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4" name="Rectangle 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8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9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0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1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2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3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4" name="Group 23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5" name="Rectangle 24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23438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/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2" y="1560513"/>
            <a:ext cx="10104967" cy="3257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0" indent="1588" algn="ctr">
              <a:buClr>
                <a:schemeClr val="bg1"/>
              </a:buClr>
              <a:buNone/>
              <a:defRPr sz="24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Clr>
                <a:schemeClr val="bg1"/>
              </a:buClr>
              <a:buNone/>
              <a:defRPr sz="1800">
                <a:solidFill>
                  <a:schemeClr val="bg1"/>
                </a:solidFill>
              </a:defRPr>
            </a:lvl3pPr>
            <a:lvl4pPr marL="0" indent="0" algn="r">
              <a:buClr>
                <a:schemeClr val="bg1"/>
              </a:buClr>
              <a:buNone/>
              <a:defRPr sz="1600" i="1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5pPr>
            <a:lvl6pPr marL="0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6pPr>
            <a:lvl7pPr marL="0" indent="0" algn="ctr">
              <a:buNone/>
              <a:defRPr sz="10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 smtClean="0"/>
              <a:t>Click to edit text (Indent for different styles incl. author level – level 3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  <a:p>
            <a:pPr lvl="5"/>
            <a:r>
              <a:rPr lang="en-US" smtClean="0"/>
              <a:t>Sixth level</a:t>
            </a:r>
          </a:p>
          <a:p>
            <a:pPr lvl="6"/>
            <a:r>
              <a:rPr lang="en-US" smtClean="0"/>
              <a:t>Seventh level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9" name="Rectangle 8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0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3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4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5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6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7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8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0" name="Rectangle 29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prstClr val="white"/>
                </a:solidFill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272835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ot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6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0" y="2285995"/>
            <a:ext cx="12192000" cy="1188000"/>
          </a:xfrm>
          <a:solidFill>
            <a:schemeClr val="tx2"/>
          </a:solidFill>
        </p:spPr>
        <p:txBody>
          <a:bodyPr lIns="756000" tIns="0" rIns="180000" anchor="ctr">
            <a:noAutofit/>
          </a:bodyPr>
          <a:lstStyle>
            <a:lvl1pPr>
              <a:lnSpc>
                <a:spcPct val="110000"/>
              </a:lnSpc>
              <a:tabLst>
                <a:tab pos="2330450" algn="l"/>
              </a:tabLst>
              <a:defRPr sz="18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tex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07533" y="744071"/>
            <a:ext cx="10663824" cy="1438742"/>
          </a:xfrm>
          <a:prstGeom prst="rect">
            <a:avLst/>
          </a:prstGeom>
          <a:ln>
            <a:noFill/>
          </a:ln>
        </p:spPr>
        <p:txBody>
          <a:bodyPr lIns="0" tIns="9144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ln>
                  <a:noFill/>
                </a:ln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edit divider title (3 lines max)</a:t>
            </a:r>
          </a:p>
        </p:txBody>
      </p:sp>
      <p:sp>
        <p:nvSpPr>
          <p:cNvPr id="6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3432176"/>
            <a:ext cx="12192000" cy="3425827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7" name="Rectangle 6"/>
          <p:cNvSpPr/>
          <p:nvPr userDrawn="1"/>
        </p:nvSpPr>
        <p:spPr>
          <a:xfrm>
            <a:off x="0" y="3432174"/>
            <a:ext cx="12192000" cy="34337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8" name="TextBox 35"/>
          <p:cNvSpPr txBox="1">
            <a:spLocks noChangeArrowheads="1"/>
          </p:cNvSpPr>
          <p:nvPr userDrawn="1"/>
        </p:nvSpPr>
        <p:spPr bwMode="auto">
          <a:xfrm>
            <a:off x="10502902" y="4243391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9" name="TextBox 36"/>
          <p:cNvSpPr txBox="1">
            <a:spLocks noChangeArrowheads="1"/>
          </p:cNvSpPr>
          <p:nvPr userDrawn="1"/>
        </p:nvSpPr>
        <p:spPr bwMode="auto">
          <a:xfrm>
            <a:off x="171451" y="4243391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10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1" name="Rectangle 10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5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6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7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8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9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0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1" name="Group 30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2" name="Rectangle 31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2143046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ght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4419" y="3506788"/>
            <a:ext cx="5232399" cy="2514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baseline="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626534" y="325941"/>
            <a:ext cx="5230284" cy="28951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GB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632700" y="5826125"/>
            <a:ext cx="2971800" cy="88423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8" name="TextBox 35"/>
          <p:cNvSpPr txBox="1">
            <a:spLocks noChangeArrowheads="1"/>
          </p:cNvSpPr>
          <p:nvPr userDrawn="1"/>
        </p:nvSpPr>
        <p:spPr bwMode="auto">
          <a:xfrm>
            <a:off x="7632700" y="288925"/>
            <a:ext cx="2971800" cy="88423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9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0" name="Rectangle 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0" name="Group 2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1" name="Rectangle 3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56283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No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419" y="1214422"/>
            <a:ext cx="8805356" cy="200502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divider title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4417" y="3506788"/>
            <a:ext cx="5232400" cy="2514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grpSp>
        <p:nvGrpSpPr>
          <p:cNvPr id="8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0" name="Rectangle 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0" name="Group 2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1" name="Rectangle 3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prstClr val="white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7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prstClr val="white"/>
                </a:solidFill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40641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94210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9556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idx="1"/>
          </p:nvPr>
        </p:nvSpPr>
        <p:spPr bwMode="auto">
          <a:xfrm>
            <a:off x="440267" y="1143004"/>
            <a:ext cx="11379200" cy="4940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62" tIns="44731" rIns="89462" bIns="4473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9543422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Trainer c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133600"/>
            <a:ext cx="10972800" cy="1386112"/>
          </a:xfrm>
        </p:spPr>
        <p:txBody>
          <a:bodyPr anchor="b"/>
          <a:lstStyle>
            <a:lvl1pPr algn="ctr">
              <a:defRPr sz="33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3657600"/>
            <a:ext cx="10972800" cy="533400"/>
          </a:xfrm>
        </p:spPr>
        <p:txBody>
          <a:bodyPr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342848" indent="0">
              <a:buNone/>
              <a:defRPr sz="1425">
                <a:solidFill>
                  <a:schemeClr val="tx1">
                    <a:tint val="75000"/>
                  </a:schemeClr>
                </a:solidFill>
              </a:defRPr>
            </a:lvl2pPr>
            <a:lvl3pPr marL="68569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547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4pPr>
            <a:lvl5pPr marL="1371396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5pPr>
            <a:lvl6pPr marL="1714247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6pPr>
            <a:lvl7pPr marL="2057093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8pPr>
            <a:lvl9pPr marL="2742788" indent="0">
              <a:buNone/>
              <a:defRPr sz="11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70648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et Ready 2">
    <p:bg bwMode="lt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0"/>
            <a:ext cx="7968208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 bwMode="ltGray">
          <a:xfrm>
            <a:off x="0" y="1600200"/>
            <a:ext cx="4953000" cy="1828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 bwMode="auto">
          <a:xfrm>
            <a:off x="626533" y="1333501"/>
            <a:ext cx="3945467" cy="1447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6500">
                <a:solidFill>
                  <a:prstClr val="white"/>
                </a:solidFill>
              </a:rPr>
              <a:t>Get ready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 bwMode="auto">
          <a:xfrm>
            <a:off x="626533" y="2724150"/>
            <a:ext cx="4174067" cy="496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3200">
                <a:solidFill>
                  <a:prstClr val="white"/>
                </a:solidFill>
              </a:rPr>
              <a:t>to actively particip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608172" y="3886200"/>
            <a:ext cx="4116229" cy="1828800"/>
          </a:xfrm>
        </p:spPr>
        <p:txBody>
          <a:bodyPr anchor="t"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None/>
              <a:defRPr sz="2100" baseline="0">
                <a:solidFill>
                  <a:schemeClr val="bg2"/>
                </a:solidFill>
              </a:defRPr>
            </a:lvl1pPr>
            <a:lvl2pPr marL="45718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6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3pPr>
            <a:lvl4pPr marL="1371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72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90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4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Placeholder text</a:t>
            </a:r>
          </a:p>
        </p:txBody>
      </p:sp>
    </p:spTree>
    <p:extLst>
      <p:ext uri="{BB962C8B-B14F-4D97-AF65-F5344CB8AC3E}">
        <p14:creationId xmlns:p14="http://schemas.microsoft.com/office/powerpoint/2010/main" val="9287352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3518704"/>
          </a:xfrm>
          <a:prstGeom prst="rect">
            <a:avLst/>
          </a:prstGeom>
        </p:spPr>
      </p:pic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36421" y="643237"/>
            <a:ext cx="10003116" cy="76992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14464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3" name="think-cell Slide" r:id="rId4" imgW="540" imgH="541" progId="TCLayout.ActiveDocument.1">
                  <p:embed/>
                </p:oleObj>
              </mc:Choice>
              <mc:Fallback>
                <p:oleObj name="think-cell Slide" r:id="rId4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93113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54046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8544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66872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83040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96953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60812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917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76125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oll Multiple">
    <p:bg bwMode="lt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5102659" cy="68580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 bwMode="ltGray">
          <a:xfrm>
            <a:off x="0" y="4379356"/>
            <a:ext cx="5410200" cy="914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638177" y="4468256"/>
            <a:ext cx="3857625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0000"/>
              </a:lnSpc>
            </a:pPr>
            <a:r>
              <a:rPr lang="en-US" sz="5400">
                <a:solidFill>
                  <a:prstClr val="white"/>
                </a:solidFill>
              </a:rPr>
              <a:t>Pol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638800" y="584200"/>
            <a:ext cx="5943600" cy="1028700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2pPr>
            <a:lvl3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3pPr>
            <a:lvl4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4pPr>
            <a:lvl5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5pPr>
            <a:lvl6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0" indent="0">
              <a:spcBef>
                <a:spcPts val="0"/>
              </a:spcBef>
              <a:buNone/>
              <a:defRPr sz="24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/>
              <a:t>[Type a question here that allows for a multiple answers]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 hasCustomPrompt="1"/>
          </p:nvPr>
        </p:nvSpPr>
        <p:spPr>
          <a:xfrm>
            <a:off x="5638800" y="1854201"/>
            <a:ext cx="5943600" cy="3860800"/>
          </a:xfrm>
        </p:spPr>
        <p:txBody>
          <a:bodyPr>
            <a:noAutofit/>
          </a:bodyPr>
          <a:lstStyle>
            <a:lvl1pPr marL="457182" marR="0" indent="-457182" algn="l" defTabSz="914363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buSzTx/>
              <a:buFont typeface="+mj-lt"/>
              <a:buAutoNum type="alphaLcPeriod"/>
              <a:tabLst/>
              <a:defRPr sz="1800"/>
            </a:lvl1pPr>
            <a:lvl2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2pPr>
            <a:lvl3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3pPr>
            <a:lvl4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4pPr>
            <a:lvl5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5pPr>
            <a:lvl6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6pPr>
            <a:lvl7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7pPr>
            <a:lvl8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8pPr>
            <a:lvl9pPr marL="465120" indent="-465120">
              <a:spcBef>
                <a:spcPts val="1200"/>
              </a:spcBef>
              <a:buClr>
                <a:schemeClr val="tx1">
                  <a:lumMod val="75000"/>
                </a:schemeClr>
              </a:buClr>
              <a:buFont typeface="+mj-lt"/>
              <a:buAutoNum type="alphaLcPeriod"/>
              <a:defRPr sz="2400"/>
            </a:lvl9pPr>
          </a:lstStyle>
          <a:p>
            <a:pPr fontAlgn="auto"/>
            <a:r>
              <a:rPr lang="en-US"/>
              <a:t>[answer] Press Enter before typing each additional answer</a:t>
            </a:r>
          </a:p>
        </p:txBody>
      </p:sp>
    </p:spTree>
    <p:extLst>
      <p:ext uri="{BB962C8B-B14F-4D97-AF65-F5344CB8AC3E}">
        <p14:creationId xmlns:p14="http://schemas.microsoft.com/office/powerpoint/2010/main" val="3838979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60013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9037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016002" y="288928"/>
            <a:ext cx="10562167" cy="2778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sp>
        <p:nvSpPr>
          <p:cNvPr id="5" name="Text Placeholder 22"/>
          <p:cNvSpPr>
            <a:spLocks noGrp="1"/>
          </p:cNvSpPr>
          <p:nvPr>
            <p:ph type="body" sz="quarter" idx="11"/>
          </p:nvPr>
        </p:nvSpPr>
        <p:spPr>
          <a:xfrm>
            <a:off x="1015999" y="5340210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/>
            </a:lvl3pPr>
            <a:lvl4pPr marL="361950" indent="-179388">
              <a:defRPr/>
            </a:lvl4pPr>
            <a:lvl5pPr marL="542925" indent="-179388">
              <a:defRPr/>
            </a:lvl5pPr>
            <a:lvl6pPr marL="714375" indent="-179388">
              <a:defRPr/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Picture Placeholder 33"/>
          <p:cNvSpPr>
            <a:spLocks noGrp="1"/>
          </p:cNvSpPr>
          <p:nvPr>
            <p:ph type="pic" sz="quarter" idx="10"/>
          </p:nvPr>
        </p:nvSpPr>
        <p:spPr>
          <a:xfrm>
            <a:off x="-1" y="1716088"/>
            <a:ext cx="12192001" cy="3430800"/>
          </a:xfrm>
          <a:prstGeom prst="rect">
            <a:avLst/>
          </a:prstGeom>
          <a:effectLst/>
        </p:spPr>
        <p:txBody>
          <a:bodyPr rtlCol="0" anchor="ctr">
            <a:normAutofit/>
          </a:bodyPr>
          <a:lstStyle>
            <a:lvl1pPr marL="0" indent="0" algn="ctr">
              <a:buNone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16001" y="644950"/>
            <a:ext cx="10943167" cy="966365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10502902" y="28638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10" name="TextBox 35"/>
          <p:cNvSpPr txBox="1">
            <a:spLocks noChangeArrowheads="1"/>
          </p:cNvSpPr>
          <p:nvPr userDrawn="1"/>
        </p:nvSpPr>
        <p:spPr bwMode="auto">
          <a:xfrm>
            <a:off x="171451" y="28638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pic>
        <p:nvPicPr>
          <p:cNvPr id="11" name="Picture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1" y="5673728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37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3" name="Rectangle 1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4" name="Group 13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15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7" name="TextBox 16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8" name="TextBox 17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9" name="TextBox 18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0" name="TextBox 19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1" name="TextBox 20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2" name="TextBox 21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0" name="Group 3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1" name="Rectangle 4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4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r>
              <a:rPr lang="en-GB" dirty="0" smtClean="0"/>
              <a:t>Footer - Use 'Insert &gt;Header &amp; Footer' to modify this text and ‘Apply to all’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5479879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-1"/>
            <a:ext cx="12192000" cy="342900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5" name="Picture 3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0" y="5673726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36"/>
          <p:cNvSpPr txBox="1">
            <a:spLocks noChangeArrowheads="1"/>
          </p:cNvSpPr>
          <p:nvPr userDrawn="1"/>
        </p:nvSpPr>
        <p:spPr bwMode="auto">
          <a:xfrm>
            <a:off x="10502901" y="1063626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7" name="TextBox 37"/>
          <p:cNvSpPr txBox="1">
            <a:spLocks noChangeArrowheads="1"/>
          </p:cNvSpPr>
          <p:nvPr userDrawn="1"/>
        </p:nvSpPr>
        <p:spPr bwMode="auto">
          <a:xfrm>
            <a:off x="171451" y="1063626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8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9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9" name="Rectangle 3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0" y="-2"/>
            <a:ext cx="12192000" cy="406402"/>
          </a:xfrm>
          <a:prstGeom prst="rect">
            <a:avLst/>
          </a:prstGeom>
          <a:solidFill>
            <a:srgbClr val="00549E"/>
          </a:solidFill>
          <a:effectLst/>
        </p:spPr>
        <p:txBody>
          <a:bodyPr lIns="756000" tIns="72000" rIns="72000" bIns="36000" anchor="ctr">
            <a:noAutofit/>
          </a:bodyPr>
          <a:lstStyle>
            <a:lvl1pPr marL="0" indent="0">
              <a:spcBef>
                <a:spcPct val="0"/>
              </a:spcBef>
              <a:buNone/>
              <a:defRPr sz="14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Business Unit</a:t>
            </a:r>
            <a:endParaRPr lang="en-GB" dirty="0"/>
          </a:p>
        </p:txBody>
      </p:sp>
      <p:sp>
        <p:nvSpPr>
          <p:cNvPr id="10" name="Text Placeholder 22"/>
          <p:cNvSpPr>
            <a:spLocks noGrp="1"/>
          </p:cNvSpPr>
          <p:nvPr>
            <p:ph type="body" sz="quarter" idx="13"/>
          </p:nvPr>
        </p:nvSpPr>
        <p:spPr>
          <a:xfrm>
            <a:off x="1015999" y="4850355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>
                <a:solidFill>
                  <a:schemeClr val="tx1"/>
                </a:solidFill>
              </a:defRPr>
            </a:lvl3pPr>
            <a:lvl4pPr marL="361950" indent="-179388">
              <a:defRPr>
                <a:solidFill>
                  <a:schemeClr val="tx1"/>
                </a:solidFill>
              </a:defRPr>
            </a:lvl4pPr>
            <a:lvl5pPr marL="542925" indent="-179388">
              <a:defRPr>
                <a:solidFill>
                  <a:schemeClr val="tx1"/>
                </a:solidFill>
              </a:defRPr>
            </a:lvl5pPr>
            <a:lvl6pPr marL="714375" indent="-179388">
              <a:defRPr>
                <a:solidFill>
                  <a:schemeClr val="tx1"/>
                </a:solidFill>
              </a:defRPr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13" name="Title 3"/>
          <p:cNvSpPr>
            <a:spLocks noGrp="1"/>
          </p:cNvSpPr>
          <p:nvPr>
            <p:ph type="title"/>
          </p:nvPr>
        </p:nvSpPr>
        <p:spPr>
          <a:xfrm>
            <a:off x="1015999" y="3552825"/>
            <a:ext cx="10943167" cy="1130910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grpSp>
        <p:nvGrpSpPr>
          <p:cNvPr id="14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5" name="Rectangle 14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6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9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0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1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2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3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4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1" name="Group 40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2" name="Rectangle 41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40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r>
              <a:rPr lang="en-GB" dirty="0" smtClean="0"/>
              <a:t>Footer - Use 'Insert &gt;Header &amp; Footer' to modify this text and ‘Apply to all’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0561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 bwMode="auto">
          <a:xfrm>
            <a:off x="0" y="3384000"/>
            <a:ext cx="12192000" cy="1188000"/>
          </a:xfrm>
          <a:solidFill>
            <a:schemeClr val="tx2"/>
          </a:solidFill>
        </p:spPr>
        <p:txBody>
          <a:bodyPr lIns="756000" rIns="180000" anchor="ctr"/>
          <a:lstStyle>
            <a:lvl1pPr marL="0" indent="0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Font typeface="Wingdings" panose="05000000000000000000" pitchFamily="2" charset="2"/>
              <a:buNone/>
              <a:defRPr lang="en-GB" sz="2800" b="0" dirty="0">
                <a:solidFill>
                  <a:schemeClr val="bg2">
                    <a:lumMod val="20000"/>
                    <a:lumOff val="8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12192000" cy="3429002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6" name="Text Placeholder 22"/>
          <p:cNvSpPr>
            <a:spLocks noGrp="1"/>
          </p:cNvSpPr>
          <p:nvPr>
            <p:ph type="body" sz="quarter" idx="14"/>
          </p:nvPr>
        </p:nvSpPr>
        <p:spPr>
          <a:xfrm>
            <a:off x="1015999" y="4850355"/>
            <a:ext cx="6629644" cy="839322"/>
          </a:xfrm>
          <a:prstGeom prst="rect">
            <a:avLst/>
          </a:prstGeom>
        </p:spPr>
        <p:txBody>
          <a:bodyPr lIns="0" rIns="0"/>
          <a:lstStyle>
            <a:lvl1pPr marL="0" indent="0">
              <a:spcAft>
                <a:spcPts val="0"/>
              </a:spcAft>
              <a:buNone/>
              <a:defRPr sz="1600" b="1">
                <a:solidFill>
                  <a:schemeClr val="tx1"/>
                </a:solidFill>
              </a:defRPr>
            </a:lvl1pPr>
            <a:lvl2pPr marL="0" indent="1588">
              <a:spcAft>
                <a:spcPts val="0"/>
              </a:spcAft>
              <a:buNone/>
              <a:defRPr sz="1400" i="1" baseline="0">
                <a:solidFill>
                  <a:schemeClr val="tx1"/>
                </a:solidFill>
              </a:defRPr>
            </a:lvl2pPr>
            <a:lvl3pPr marL="180975" indent="-179388">
              <a:spcAft>
                <a:spcPts val="0"/>
              </a:spcAft>
              <a:defRPr/>
            </a:lvl3pPr>
            <a:lvl4pPr marL="361950" indent="-179388">
              <a:defRPr/>
            </a:lvl4pPr>
            <a:lvl5pPr marL="542925" indent="-179388">
              <a:defRPr/>
            </a:lvl5pPr>
            <a:lvl6pPr marL="714375" indent="-179388">
              <a:defRPr/>
            </a:lvl6pPr>
            <a:lvl7pPr marL="895350" indent="-160338">
              <a:spcBef>
                <a:spcPts val="0"/>
              </a:spcBef>
              <a:buSzPct val="80000"/>
              <a:defRPr sz="1200"/>
            </a:lvl7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-1"/>
            <a:ext cx="12192000" cy="34337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white"/>
              </a:solidFill>
            </a:endParaRPr>
          </a:p>
        </p:txBody>
      </p:sp>
      <p:pic>
        <p:nvPicPr>
          <p:cNvPr id="9" name="Picture 3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798391" y="5673728"/>
            <a:ext cx="2325287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37"/>
          <p:cNvSpPr txBox="1">
            <a:spLocks noChangeArrowheads="1"/>
          </p:cNvSpPr>
          <p:nvPr userDrawn="1"/>
        </p:nvSpPr>
        <p:spPr bwMode="auto">
          <a:xfrm>
            <a:off x="10502902" y="11112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11" name="TextBox 38"/>
          <p:cNvSpPr txBox="1">
            <a:spLocks noChangeArrowheads="1"/>
          </p:cNvSpPr>
          <p:nvPr userDrawn="1"/>
        </p:nvSpPr>
        <p:spPr bwMode="auto">
          <a:xfrm>
            <a:off x="171451" y="1111253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13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4" name="Rectangle 1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8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9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0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1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2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3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40" name="Group 3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41" name="Rectangle 4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42" name="Straight Connector 4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878785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878785"/>
              </a:solidFill>
              <a:cs typeface="Arial" charset="0"/>
            </a:endParaRPr>
          </a:p>
        </p:txBody>
      </p:sp>
      <p:sp>
        <p:nvSpPr>
          <p:cNvPr id="3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rgbClr val="878785"/>
                </a:solidFill>
              </a:defRPr>
            </a:lvl1pPr>
          </a:lstStyle>
          <a:p>
            <a:r>
              <a:rPr lang="en-GB" dirty="0" smtClean="0"/>
              <a:t>Footer - Use 'Insert &gt;Header &amp; Footer' to modify this text and ‘Apply to all’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35354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8" y="1144589"/>
            <a:ext cx="10943167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50837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 and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337302" y="1196975"/>
            <a:ext cx="5230284" cy="4824414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2234292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337302" y="1196976"/>
            <a:ext cx="5230284" cy="2337949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6337302" y="3684233"/>
            <a:ext cx="5230284" cy="2337949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1445068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4419" y="1144589"/>
            <a:ext cx="5232399" cy="4876800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335184" y="1144590"/>
            <a:ext cx="5232400" cy="4876799"/>
          </a:xfrm>
        </p:spPr>
        <p:txBody>
          <a:bodyPr rIns="0" bIns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33264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2993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5787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cussion 1">
    <p:bg bwMode="ltGray"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" y="8001"/>
            <a:ext cx="12191617" cy="406907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ltGray">
          <a:xfrm>
            <a:off x="-1" y="3889829"/>
            <a:ext cx="4909869" cy="9144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0" y="3889829"/>
            <a:ext cx="4719368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lvl="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66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fontAlgn="base">
              <a:lnSpc>
                <a:spcPct val="90000"/>
              </a:lnSpc>
            </a:pPr>
            <a:r>
              <a:rPr lang="en-US" sz="3600">
                <a:solidFill>
                  <a:prstClr val="white">
                    <a:lumMod val="95000"/>
                  </a:prstClr>
                </a:solidFill>
              </a:rPr>
              <a:t>Program Updates</a:t>
            </a:r>
          </a:p>
        </p:txBody>
      </p:sp>
    </p:spTree>
    <p:extLst>
      <p:ext uri="{BB962C8B-B14F-4D97-AF65-F5344CB8AC3E}">
        <p14:creationId xmlns:p14="http://schemas.microsoft.com/office/powerpoint/2010/main" val="40130135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3" name="Rectangle 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4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3" name="Straight Connector 1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7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8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9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0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1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2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4" name="Rectangle 2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25" name="Straight Connector 2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9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31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en-GB" dirty="0" smtClean="0">
                <a:solidFill>
                  <a:prstClr val="black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26572" y="6234113"/>
            <a:ext cx="146174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982446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3" name="Rectangle 2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4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3" name="Straight Connector 12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7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8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9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0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1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2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3" name="Group 22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4" name="Rectangle 2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25" name="Straight Connector 2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016459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4" name="Rectangle 3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5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4" name="Straight Connector 13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8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9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0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1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2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3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4" name="Group 23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25" name="Rectangle 24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26" name="Straight Connector 25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973030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/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2" y="1560513"/>
            <a:ext cx="10104967" cy="3257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0" indent="1588" algn="ctr">
              <a:buClr>
                <a:schemeClr val="bg1"/>
              </a:buClr>
              <a:buNone/>
              <a:defRPr sz="24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Clr>
                <a:schemeClr val="bg1"/>
              </a:buClr>
              <a:buNone/>
              <a:defRPr sz="1800">
                <a:solidFill>
                  <a:schemeClr val="bg1"/>
                </a:solidFill>
              </a:defRPr>
            </a:lvl3pPr>
            <a:lvl4pPr marL="0" indent="0" algn="r">
              <a:buClr>
                <a:schemeClr val="bg1"/>
              </a:buClr>
              <a:buNone/>
              <a:defRPr sz="1600" i="1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5pPr>
            <a:lvl6pPr marL="0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6pPr>
            <a:lvl7pPr marL="0" indent="0" algn="ctr">
              <a:buNone/>
              <a:defRPr sz="10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 smtClean="0"/>
              <a:t>Click to edit text (Indent for different styles incl. author level – level 3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  <a:p>
            <a:pPr lvl="5"/>
            <a:r>
              <a:rPr lang="en-US" smtClean="0"/>
              <a:t>Sixth level</a:t>
            </a:r>
          </a:p>
          <a:p>
            <a:pPr lvl="6"/>
            <a:r>
              <a:rPr lang="en-US" smtClean="0"/>
              <a:t>Seventh level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39"/>
          <p:cNvGrpSpPr>
            <a:grpSpLocks/>
          </p:cNvGrpSpPr>
          <p:nvPr userDrawn="1"/>
        </p:nvGrpSpPr>
        <p:grpSpPr bwMode="white">
          <a:xfrm>
            <a:off x="-765726" y="0"/>
            <a:ext cx="654051" cy="6865938"/>
            <a:chOff x="-565302" y="0"/>
            <a:chExt cx="490967" cy="6865432"/>
          </a:xfrm>
        </p:grpSpPr>
        <p:sp>
          <p:nvSpPr>
            <p:cNvPr id="9" name="Rectangle 8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0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3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4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5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6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7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8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0" name="Rectangle 29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prstClr val="white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6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7439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tement/Quot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016002" y="1560513"/>
            <a:ext cx="10104967" cy="32575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0" indent="1588" algn="ctr">
              <a:buClr>
                <a:schemeClr val="bg1"/>
              </a:buClr>
              <a:buNone/>
              <a:defRPr sz="2400">
                <a:solidFill>
                  <a:schemeClr val="bg1"/>
                </a:solidFill>
              </a:defRPr>
            </a:lvl2pPr>
            <a:lvl3pPr marL="0" indent="0" algn="r">
              <a:spcAft>
                <a:spcPts val="0"/>
              </a:spcAft>
              <a:buClr>
                <a:schemeClr val="bg1"/>
              </a:buClr>
              <a:buNone/>
              <a:defRPr sz="1800">
                <a:solidFill>
                  <a:schemeClr val="bg1"/>
                </a:solidFill>
              </a:defRPr>
            </a:lvl3pPr>
            <a:lvl4pPr marL="0" indent="0" algn="r">
              <a:buClr>
                <a:schemeClr val="bg1"/>
              </a:buClr>
              <a:buNone/>
              <a:defRPr sz="1600" i="1">
                <a:solidFill>
                  <a:schemeClr val="bg1"/>
                </a:solidFill>
              </a:defRPr>
            </a:lvl4pPr>
            <a:lvl5pPr marL="0" indent="0" algn="ctr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5pPr>
            <a:lvl6pPr marL="0" indent="0" algn="ctr">
              <a:buClr>
                <a:schemeClr val="bg1"/>
              </a:buClr>
              <a:buNone/>
              <a:defRPr>
                <a:solidFill>
                  <a:schemeClr val="bg1"/>
                </a:solidFill>
              </a:defRPr>
            </a:lvl6pPr>
            <a:lvl7pPr marL="0" indent="0" algn="ctr">
              <a:buNone/>
              <a:defRPr sz="1000">
                <a:solidFill>
                  <a:schemeClr val="bg1"/>
                </a:solidFill>
              </a:defRPr>
            </a:lvl7pPr>
          </a:lstStyle>
          <a:p>
            <a:pPr lvl="0"/>
            <a:r>
              <a:rPr lang="en-US" dirty="0" smtClean="0"/>
              <a:t>Click to edit text (Indent for different styles incl. author level – level 3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  <a:p>
            <a:pPr lvl="5"/>
            <a:r>
              <a:rPr lang="en-US" smtClean="0"/>
              <a:t>Sixth level</a:t>
            </a:r>
          </a:p>
          <a:p>
            <a:pPr lvl="6"/>
            <a:r>
              <a:rPr lang="en-US" smtClean="0"/>
              <a:t>Seventh level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oup 39"/>
          <p:cNvGrpSpPr>
            <a:grpSpLocks/>
          </p:cNvGrpSpPr>
          <p:nvPr userDrawn="1"/>
        </p:nvGrpSpPr>
        <p:grpSpPr bwMode="white">
          <a:xfrm>
            <a:off x="-765726" y="0"/>
            <a:ext cx="654051" cy="6865938"/>
            <a:chOff x="-565302" y="0"/>
            <a:chExt cx="490967" cy="6865432"/>
          </a:xfrm>
        </p:grpSpPr>
        <p:sp>
          <p:nvSpPr>
            <p:cNvPr id="9" name="Rectangle 8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0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19" name="Straight Connector 18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3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4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5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6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7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8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29" name="Group 28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0" name="Rectangle 29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1" name="Straight Connector 30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prstClr val="white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6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1374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Botto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6"/>
          <p:cNvSpPr>
            <a:spLocks noGrp="1" noChangeArrowheads="1"/>
          </p:cNvSpPr>
          <p:nvPr>
            <p:ph type="ctrTitle" sz="quarter" hasCustomPrompt="1"/>
          </p:nvPr>
        </p:nvSpPr>
        <p:spPr>
          <a:xfrm>
            <a:off x="0" y="2285995"/>
            <a:ext cx="12192000" cy="1188000"/>
          </a:xfrm>
          <a:solidFill>
            <a:schemeClr val="tx2"/>
          </a:solidFill>
        </p:spPr>
        <p:txBody>
          <a:bodyPr lIns="756000" tIns="0" rIns="180000" anchor="ctr">
            <a:noAutofit/>
          </a:bodyPr>
          <a:lstStyle>
            <a:lvl1pPr>
              <a:lnSpc>
                <a:spcPct val="110000"/>
              </a:lnSpc>
              <a:tabLst>
                <a:tab pos="2330450" algn="l"/>
              </a:tabLst>
              <a:defRPr sz="18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text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07533" y="744071"/>
            <a:ext cx="10663824" cy="1438742"/>
          </a:xfrm>
          <a:prstGeom prst="rect">
            <a:avLst/>
          </a:prstGeom>
          <a:ln>
            <a:noFill/>
          </a:ln>
        </p:spPr>
        <p:txBody>
          <a:bodyPr lIns="0" tIns="91440"/>
          <a:lstStyle>
            <a:lvl1pPr marL="0" indent="0">
              <a:lnSpc>
                <a:spcPct val="90000"/>
              </a:lnSpc>
              <a:spcAft>
                <a:spcPts val="0"/>
              </a:spcAft>
              <a:buNone/>
              <a:defRPr sz="3200">
                <a:ln>
                  <a:noFill/>
                </a:ln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 smtClean="0"/>
              <a:t>Click to edit divider title (3 lines max)</a:t>
            </a:r>
          </a:p>
        </p:txBody>
      </p:sp>
      <p:sp>
        <p:nvSpPr>
          <p:cNvPr id="6" name="Picture Placeholder 30"/>
          <p:cNvSpPr>
            <a:spLocks noGrp="1"/>
          </p:cNvSpPr>
          <p:nvPr>
            <p:ph type="pic" sz="quarter" idx="10"/>
          </p:nvPr>
        </p:nvSpPr>
        <p:spPr>
          <a:xfrm>
            <a:off x="0" y="3432176"/>
            <a:ext cx="12192000" cy="3425827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marR="0" indent="0" algn="ctr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Tx/>
              <a:buFont typeface="Wingdings" pitchFamily="2" charset="2"/>
              <a:buNone/>
              <a:tabLst/>
              <a:defRPr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 smtClean="0"/>
          </a:p>
        </p:txBody>
      </p:sp>
      <p:sp>
        <p:nvSpPr>
          <p:cNvPr id="7" name="Rectangle 6"/>
          <p:cNvSpPr/>
          <p:nvPr userDrawn="1"/>
        </p:nvSpPr>
        <p:spPr>
          <a:xfrm>
            <a:off x="0" y="3432174"/>
            <a:ext cx="12192000" cy="34337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8" name="TextBox 35"/>
          <p:cNvSpPr txBox="1">
            <a:spLocks noChangeArrowheads="1"/>
          </p:cNvSpPr>
          <p:nvPr userDrawn="1"/>
        </p:nvSpPr>
        <p:spPr bwMode="auto">
          <a:xfrm>
            <a:off x="10502902" y="4243391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9" name="TextBox 36"/>
          <p:cNvSpPr txBox="1">
            <a:spLocks noChangeArrowheads="1"/>
          </p:cNvSpPr>
          <p:nvPr userDrawn="1"/>
        </p:nvSpPr>
        <p:spPr bwMode="auto">
          <a:xfrm>
            <a:off x="171451" y="4243391"/>
            <a:ext cx="1536700" cy="1252907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10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1" name="Rectangle 10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2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5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6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7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8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9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0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1" name="Group 30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2" name="Rectangle 31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939831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Right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4419" y="3506788"/>
            <a:ext cx="5232399" cy="2514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Picture Placeholder 18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marL="0" indent="0" algn="ctr">
              <a:buNone/>
              <a:defRPr baseline="0">
                <a:solidFill>
                  <a:schemeClr val="bg2">
                    <a:lumMod val="60000"/>
                    <a:lumOff val="40000"/>
                  </a:schemeClr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6" name="Title 7"/>
          <p:cNvSpPr>
            <a:spLocks noGrp="1"/>
          </p:cNvSpPr>
          <p:nvPr>
            <p:ph type="title" hasCustomPrompt="1"/>
          </p:nvPr>
        </p:nvSpPr>
        <p:spPr>
          <a:xfrm>
            <a:off x="626534" y="325941"/>
            <a:ext cx="5230284" cy="289516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divider title</a:t>
            </a:r>
            <a:endParaRPr lang="en-GB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7632700" y="5826125"/>
            <a:ext cx="2971800" cy="88423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sp>
        <p:nvSpPr>
          <p:cNvPr id="8" name="TextBox 35"/>
          <p:cNvSpPr txBox="1">
            <a:spLocks noChangeArrowheads="1"/>
          </p:cNvSpPr>
          <p:nvPr userDrawn="1"/>
        </p:nvSpPr>
        <p:spPr bwMode="auto">
          <a:xfrm>
            <a:off x="7632700" y="288925"/>
            <a:ext cx="2971800" cy="884238"/>
          </a:xfrm>
          <a:prstGeom prst="rect">
            <a:avLst/>
          </a:prstGeom>
          <a:solidFill>
            <a:srgbClr val="F5C4B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8033" tIns="10795" rIns="18033" bIns="10795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ts val="600"/>
              </a:spcAft>
              <a:defRPr/>
            </a:pP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If the you can read this </a:t>
            </a: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Click on the icon to choose a picture 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or </a:t>
            </a:r>
            <a:br>
              <a:rPr lang="en-GB" altLang="en-US" sz="1000" dirty="0" smtClean="0">
                <a:solidFill>
                  <a:prstClr val="white"/>
                </a:solidFill>
                <a:cs typeface="Arial" charset="0"/>
              </a:rPr>
            </a:br>
            <a:r>
              <a:rPr lang="en-GB" altLang="en-US" sz="1000" b="1" dirty="0" smtClean="0">
                <a:solidFill>
                  <a:prstClr val="white"/>
                </a:solidFill>
                <a:cs typeface="Arial" charset="0"/>
              </a:rPr>
              <a:t>Reset the slide</a:t>
            </a:r>
            <a:r>
              <a:rPr lang="en-GB" altLang="en-US" sz="1000" dirty="0" smtClean="0">
                <a:solidFill>
                  <a:prstClr val="white"/>
                </a:solidFill>
                <a:cs typeface="Arial" charset="0"/>
              </a:rPr>
              <a:t>.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en-US" sz="700" dirty="0" smtClean="0">
                <a:solidFill>
                  <a:prstClr val="white"/>
                </a:solidFill>
                <a:cs typeface="Arial" charset="0"/>
              </a:rPr>
              <a:t>To Reset: Right click on the slide thumbnail and select ‘reset slide’ or choose the ‘Reset’ button on the ‘Home’ ribbon (next to the font choice box)</a:t>
            </a:r>
          </a:p>
        </p:txBody>
      </p:sp>
      <p:grpSp>
        <p:nvGrpSpPr>
          <p:cNvPr id="9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0" name="Rectangle 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0" name="Group 2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1" name="Rectangle 3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285643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No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24419" y="1214422"/>
            <a:ext cx="8805356" cy="2005022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kumimoji="0" lang="en-GB" sz="2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dirty="0" smtClean="0"/>
              <a:t>Click to edit divider title</a:t>
            </a:r>
            <a:endParaRPr lang="en-GB" dirty="0"/>
          </a:p>
        </p:txBody>
      </p:sp>
      <p:pic>
        <p:nvPicPr>
          <p:cNvPr id="4" name="Picture 35" descr="JCI_RGB.e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6136" y="6234113"/>
            <a:ext cx="146261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624417" y="3506788"/>
            <a:ext cx="5232400" cy="2514600"/>
          </a:xfrm>
        </p:spPr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grpSp>
        <p:nvGrpSpPr>
          <p:cNvPr id="8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10" name="Rectangle 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1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26" name="Straight Connector 2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Straight Connector 2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20" name="Straight Connector 1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Straight Connector 2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1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1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1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1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1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1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grpSp>
        <p:nvGrpSpPr>
          <p:cNvPr id="30" name="Group 29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31" name="Rectangle 30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32" name="Straight Connector 31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5"/>
          <p:cNvSpPr txBox="1">
            <a:spLocks noChangeArrowheads="1"/>
          </p:cNvSpPr>
          <p:nvPr userDrawn="1"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prstClr val="white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prstClr val="white"/>
              </a:solidFill>
              <a:cs typeface="Arial" charset="0"/>
            </a:endParaRPr>
          </a:p>
        </p:txBody>
      </p:sp>
      <p:sp>
        <p:nvSpPr>
          <p:cNvPr id="37" name="Rectangle 6"/>
          <p:cNvSpPr txBox="1">
            <a:spLocks noChangeArrowheads="1"/>
          </p:cNvSpPr>
          <p:nvPr userDrawn="1"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prstClr val="white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prstClr val="white"/>
              </a:solidFill>
            </a:endParaRPr>
          </a:p>
        </p:txBody>
      </p:sp>
      <p:sp>
        <p:nvSpPr>
          <p:cNvPr id="3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GB" dirty="0" smtClean="0">
                <a:solidFill>
                  <a:prstClr val="white"/>
                </a:solidFill>
              </a:rPr>
              <a:t>Footer - Use 'Insert &gt;Header &amp; Footer' to modify this text and ‘Apply to all’</a:t>
            </a:r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122838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7996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4417" y="48767"/>
            <a:ext cx="10926560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019758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vmlDrawing" Target="../drawings/vmlDrawing5.v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heme" Target="../theme/theme2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1.emf"/><Relationship Id="rId3" Type="http://schemas.openxmlformats.org/officeDocument/2006/relationships/slideLayout" Target="../slideLayouts/slideLayout53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6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tags" Target="../tags/tag7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vmlDrawing" Target="../drawings/vmlDrawing6.vml"/><Relationship Id="rId27" Type="http://schemas.openxmlformats.org/officeDocument/2006/relationships/image" Target="../media/image12.jp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vmlDrawing" Target="../drawings/vmlDrawing11.v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17.emf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oleObject" Target="../embeddings/oleObject11.bin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tags" Target="../tags/tag1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slideLayout" Target="../slideLayouts/slideLayout94.xml"/><Relationship Id="rId18" Type="http://schemas.openxmlformats.org/officeDocument/2006/relationships/slideLayout" Target="../slideLayouts/slideLayout99.xml"/><Relationship Id="rId3" Type="http://schemas.openxmlformats.org/officeDocument/2006/relationships/slideLayout" Target="../slideLayouts/slideLayout84.xml"/><Relationship Id="rId21" Type="http://schemas.openxmlformats.org/officeDocument/2006/relationships/tags" Target="../tags/tag15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slideLayout" Target="../slideLayouts/slideLayout98.xml"/><Relationship Id="rId25" Type="http://schemas.openxmlformats.org/officeDocument/2006/relationships/image" Target="../media/image18.png"/><Relationship Id="rId2" Type="http://schemas.openxmlformats.org/officeDocument/2006/relationships/slideLayout" Target="../slideLayouts/slideLayout83.xml"/><Relationship Id="rId16" Type="http://schemas.openxmlformats.org/officeDocument/2006/relationships/slideLayout" Target="../slideLayouts/slideLayout97.xml"/><Relationship Id="rId20" Type="http://schemas.openxmlformats.org/officeDocument/2006/relationships/vmlDrawing" Target="../drawings/vmlDrawing13.v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24" Type="http://schemas.openxmlformats.org/officeDocument/2006/relationships/image" Target="../media/image11.emf"/><Relationship Id="rId5" Type="http://schemas.openxmlformats.org/officeDocument/2006/relationships/slideLayout" Target="../slideLayouts/slideLayout86.xml"/><Relationship Id="rId15" Type="http://schemas.openxmlformats.org/officeDocument/2006/relationships/slideLayout" Target="../slideLayouts/slideLayout96.xml"/><Relationship Id="rId23" Type="http://schemas.openxmlformats.org/officeDocument/2006/relationships/oleObject" Target="../embeddings/oleObject13.bin"/><Relationship Id="rId10" Type="http://schemas.openxmlformats.org/officeDocument/2006/relationships/slideLayout" Target="../slideLayouts/slideLayout91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slideLayout" Target="../slideLayouts/slideLayout95.xml"/><Relationship Id="rId22" Type="http://schemas.openxmlformats.org/officeDocument/2006/relationships/tags" Target="../tags/tag1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tags" Target="../tags/tag21.xml"/><Relationship Id="rId3" Type="http://schemas.openxmlformats.org/officeDocument/2006/relationships/slideLayout" Target="../slideLayouts/slideLayout102.xml"/><Relationship Id="rId21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vmlDrawing" Target="../drawings/vmlDrawing17.v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slideLayout" Target="../slideLayouts/slideLayout119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theme" Target="../theme/theme6.xml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oleObject" Target="../embeddings/oleObject1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theme" Target="../theme/theme7.xml"/><Relationship Id="rId3" Type="http://schemas.openxmlformats.org/officeDocument/2006/relationships/slideLayout" Target="../slideLayouts/slideLayout125.xml"/><Relationship Id="rId21" Type="http://schemas.openxmlformats.org/officeDocument/2006/relationships/tags" Target="../tags/tag23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tags" Target="../tags/tag22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image" Target="../media/image14.png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image" Target="../media/image11.emf"/><Relationship Id="rId10" Type="http://schemas.openxmlformats.org/officeDocument/2006/relationships/slideLayout" Target="../slideLayouts/slideLayout132.xml"/><Relationship Id="rId19" Type="http://schemas.openxmlformats.org/officeDocument/2006/relationships/vmlDrawing" Target="../drawings/vmlDrawing18.v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oleObject" Target="../embeddings/oleObject1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2648227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32" imgW="216" imgH="216" progId="TCLayout.ActiveDocument.1">
                  <p:embed/>
                </p:oleObj>
              </mc:Choice>
              <mc:Fallback>
                <p:oleObj name="think-cell Slide" r:id="rId32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24421" y="188914"/>
            <a:ext cx="1094316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itle (2 lines max)</a:t>
            </a:r>
            <a:endParaRPr lang="en-GB" altLang="en-US"/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624417" y="6560605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12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624420" y="1144591"/>
            <a:ext cx="10943165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ext (use indent for a higher bullet level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Rectangle 13"/>
          <p:cNvSpPr/>
          <p:nvPr userDrawn="1"/>
        </p:nvSpPr>
        <p:spPr bwMode="white">
          <a:xfrm rot="5400000">
            <a:off x="5979323" y="-6304754"/>
            <a:ext cx="233362" cy="12192000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white">
          <a:xfrm rot="16200000" flipH="1">
            <a:off x="507736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white">
          <a:xfrm rot="16200000" flipH="1">
            <a:off x="11450903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 bwMode="white">
          <a:xfrm rot="16200000" flipH="1">
            <a:off x="5745427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white">
          <a:xfrm rot="16200000" flipH="1">
            <a:off x="6221679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39"/>
          <p:cNvGrpSpPr>
            <a:grpSpLocks/>
          </p:cNvGrpSpPr>
          <p:nvPr userDrawn="1"/>
        </p:nvGrpSpPr>
        <p:grpSpPr bwMode="white">
          <a:xfrm>
            <a:off x="-753534" y="1"/>
            <a:ext cx="654051" cy="6865938"/>
            <a:chOff x="-565302" y="0"/>
            <a:chExt cx="490967" cy="6865432"/>
          </a:xfrm>
        </p:grpSpPr>
        <p:sp>
          <p:nvSpPr>
            <p:cNvPr id="20" name="Rectangle 1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grpSp>
          <p:nvGrpSpPr>
            <p:cNvPr id="2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6" name="Straight Connector 3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TextBox 43"/>
            <p:cNvSpPr txBox="1">
              <a:spLocks noChangeArrowheads="1"/>
            </p:cNvSpPr>
            <p:nvPr userDrawn="1"/>
          </p:nvSpPr>
          <p:spPr bwMode="white">
            <a:xfrm>
              <a:off x="-536401" y="102862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24" name="TextBox 44"/>
            <p:cNvSpPr txBox="1">
              <a:spLocks noChangeArrowheads="1"/>
            </p:cNvSpPr>
            <p:nvPr userDrawn="1"/>
          </p:nvSpPr>
          <p:spPr bwMode="white">
            <a:xfrm>
              <a:off x="-536401" y="2182652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5" name="TextBox 45"/>
            <p:cNvSpPr txBox="1">
              <a:spLocks noChangeArrowheads="1"/>
            </p:cNvSpPr>
            <p:nvPr userDrawn="1"/>
          </p:nvSpPr>
          <p:spPr bwMode="white">
            <a:xfrm>
              <a:off x="-536401" y="4463721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6" name="TextBox 46"/>
            <p:cNvSpPr txBox="1">
              <a:spLocks noChangeArrowheads="1"/>
            </p:cNvSpPr>
            <p:nvPr userDrawn="1"/>
          </p:nvSpPr>
          <p:spPr bwMode="white">
            <a:xfrm>
              <a:off x="-536401" y="560187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7" name="TextBox 47"/>
            <p:cNvSpPr txBox="1">
              <a:spLocks noChangeArrowheads="1"/>
            </p:cNvSpPr>
            <p:nvPr userDrawn="1"/>
          </p:nvSpPr>
          <p:spPr bwMode="white">
            <a:xfrm>
              <a:off x="-536401" y="161119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8" name="TextBox 48"/>
            <p:cNvSpPr txBox="1">
              <a:spLocks noChangeArrowheads="1"/>
            </p:cNvSpPr>
            <p:nvPr userDrawn="1"/>
          </p:nvSpPr>
          <p:spPr bwMode="white">
            <a:xfrm>
              <a:off x="-536401" y="504946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9" name="TextBox 49"/>
            <p:cNvSpPr txBox="1">
              <a:spLocks noChangeArrowheads="1"/>
            </p:cNvSpPr>
            <p:nvPr userDrawn="1"/>
          </p:nvSpPr>
          <p:spPr bwMode="white">
            <a:xfrm>
              <a:off x="-536401" y="3338267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cxnSp>
        <p:nvCxnSpPr>
          <p:cNvPr id="40" name="Straight Connector 39"/>
          <p:cNvCxnSpPr/>
          <p:nvPr userDrawn="1"/>
        </p:nvCxnSpPr>
        <p:spPr bwMode="white">
          <a:xfrm rot="16200000" flipH="1">
            <a:off x="5979319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white">
          <a:xfrm rot="16200000" flipH="1">
            <a:off x="4074496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white">
          <a:xfrm rot="16200000" flipH="1">
            <a:off x="787938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white">
          <a:xfrm rot="16200000" flipH="1">
            <a:off x="3836394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white">
          <a:xfrm rot="16200000" flipH="1">
            <a:off x="431741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 bwMode="white">
          <a:xfrm rot="16200000" flipH="1">
            <a:off x="7644078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 bwMode="white">
          <a:xfrm rot="16200000" flipH="1">
            <a:off x="812033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819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8" r:id="rId22"/>
    <p:sldLayoutId id="2147483719" r:id="rId23"/>
    <p:sldLayoutId id="2147483720" r:id="rId24"/>
    <p:sldLayoutId id="2147483721" r:id="rId25"/>
    <p:sldLayoutId id="2147483722" r:id="rId26"/>
    <p:sldLayoutId id="2147483745" r:id="rId27"/>
    <p:sldLayoutId id="2147483746" r:id="rId28"/>
  </p:sldLayoutIdLst>
  <p:transition>
    <p:fade/>
  </p:transition>
  <p:hf sldNum="0" hd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689" indent="-266689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64" indent="-266689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98490" indent="-274627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592" indent="-265102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18" indent="-274627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320" indent="-265102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pos="393">
          <p15:clr>
            <a:srgbClr val="F26B43"/>
          </p15:clr>
        </p15:guide>
        <p15:guide id="5" pos="3840">
          <p15:clr>
            <a:srgbClr val="F26B43"/>
          </p15:clr>
        </p15:guide>
        <p15:guide id="6" pos="3693">
          <p15:clr>
            <a:srgbClr val="F26B43"/>
          </p15:clr>
        </p15:guide>
        <p15:guide id="7" pos="3993">
          <p15:clr>
            <a:srgbClr val="F26B43"/>
          </p15:clr>
        </p15:guide>
        <p15:guide id="8" orient="horz" pos="4227">
          <p15:clr>
            <a:srgbClr val="F26B43"/>
          </p15:clr>
        </p15:guide>
        <p15:guide id="9" pos="2490">
          <p15:clr>
            <a:srgbClr val="F26B43"/>
          </p15:clr>
        </p15:guide>
        <p15:guide id="10" pos="2640">
          <p15:clr>
            <a:srgbClr val="F26B43"/>
          </p15:clr>
        </p15:guide>
        <p15:guide id="11" pos="2792">
          <p15:clr>
            <a:srgbClr val="F26B43"/>
          </p15:clr>
        </p15:guide>
        <p15:guide id="12" pos="4888">
          <p15:clr>
            <a:srgbClr val="F26B43"/>
          </p15:clr>
        </p15:guide>
        <p15:guide id="13" pos="5038">
          <p15:clr>
            <a:srgbClr val="F26B43"/>
          </p15:clr>
        </p15:guide>
        <p15:guide id="14" pos="518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1318775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7" name="think-cell Slide" r:id="rId26" imgW="216" imgH="216" progId="TCLayout.ActiveDocument.1">
                  <p:embed/>
                </p:oleObj>
              </mc:Choice>
              <mc:Fallback>
                <p:oleObj name="think-cell Slide" r:id="rId26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24421" y="188914"/>
            <a:ext cx="1094316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itle (2 lines max)</a:t>
            </a:r>
            <a:endParaRPr lang="en-GB" altLang="en-US"/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624417" y="6560605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12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624420" y="1144591"/>
            <a:ext cx="10943165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ext (use indent for a higher bullet level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Rectangle 13"/>
          <p:cNvSpPr/>
          <p:nvPr userDrawn="1"/>
        </p:nvSpPr>
        <p:spPr bwMode="white">
          <a:xfrm rot="5400000">
            <a:off x="5979323" y="-6304754"/>
            <a:ext cx="233362" cy="12192000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white">
          <a:xfrm rot="16200000" flipH="1">
            <a:off x="507736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white">
          <a:xfrm rot="16200000" flipH="1">
            <a:off x="11450903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 bwMode="white">
          <a:xfrm rot="16200000" flipH="1">
            <a:off x="5745427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white">
          <a:xfrm rot="16200000" flipH="1">
            <a:off x="6221679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39"/>
          <p:cNvGrpSpPr>
            <a:grpSpLocks/>
          </p:cNvGrpSpPr>
          <p:nvPr userDrawn="1"/>
        </p:nvGrpSpPr>
        <p:grpSpPr bwMode="white">
          <a:xfrm>
            <a:off x="-753534" y="1"/>
            <a:ext cx="654051" cy="6865938"/>
            <a:chOff x="-565302" y="0"/>
            <a:chExt cx="490967" cy="6865432"/>
          </a:xfrm>
        </p:grpSpPr>
        <p:sp>
          <p:nvSpPr>
            <p:cNvPr id="20" name="Rectangle 1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grpSp>
          <p:nvGrpSpPr>
            <p:cNvPr id="2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6" name="Straight Connector 3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TextBox 43"/>
            <p:cNvSpPr txBox="1">
              <a:spLocks noChangeArrowheads="1"/>
            </p:cNvSpPr>
            <p:nvPr userDrawn="1"/>
          </p:nvSpPr>
          <p:spPr bwMode="white">
            <a:xfrm>
              <a:off x="-536401" y="102862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24" name="TextBox 44"/>
            <p:cNvSpPr txBox="1">
              <a:spLocks noChangeArrowheads="1"/>
            </p:cNvSpPr>
            <p:nvPr userDrawn="1"/>
          </p:nvSpPr>
          <p:spPr bwMode="white">
            <a:xfrm>
              <a:off x="-536401" y="2182652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5" name="TextBox 45"/>
            <p:cNvSpPr txBox="1">
              <a:spLocks noChangeArrowheads="1"/>
            </p:cNvSpPr>
            <p:nvPr userDrawn="1"/>
          </p:nvSpPr>
          <p:spPr bwMode="white">
            <a:xfrm>
              <a:off x="-536401" y="4463721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6" name="TextBox 46"/>
            <p:cNvSpPr txBox="1">
              <a:spLocks noChangeArrowheads="1"/>
            </p:cNvSpPr>
            <p:nvPr userDrawn="1"/>
          </p:nvSpPr>
          <p:spPr bwMode="white">
            <a:xfrm>
              <a:off x="-536401" y="560187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7" name="TextBox 47"/>
            <p:cNvSpPr txBox="1">
              <a:spLocks noChangeArrowheads="1"/>
            </p:cNvSpPr>
            <p:nvPr userDrawn="1"/>
          </p:nvSpPr>
          <p:spPr bwMode="white">
            <a:xfrm>
              <a:off x="-536401" y="161119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8" name="TextBox 48"/>
            <p:cNvSpPr txBox="1">
              <a:spLocks noChangeArrowheads="1"/>
            </p:cNvSpPr>
            <p:nvPr userDrawn="1"/>
          </p:nvSpPr>
          <p:spPr bwMode="white">
            <a:xfrm>
              <a:off x="-536401" y="504946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9" name="TextBox 49"/>
            <p:cNvSpPr txBox="1">
              <a:spLocks noChangeArrowheads="1"/>
            </p:cNvSpPr>
            <p:nvPr userDrawn="1"/>
          </p:nvSpPr>
          <p:spPr bwMode="white">
            <a:xfrm>
              <a:off x="-536401" y="3338267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cxnSp>
        <p:nvCxnSpPr>
          <p:cNvPr id="40" name="Straight Connector 39"/>
          <p:cNvCxnSpPr/>
          <p:nvPr userDrawn="1"/>
        </p:nvCxnSpPr>
        <p:spPr bwMode="white">
          <a:xfrm rot="16200000" flipH="1">
            <a:off x="5979319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white">
          <a:xfrm rot="16200000" flipH="1">
            <a:off x="4074496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white">
          <a:xfrm rot="16200000" flipH="1">
            <a:off x="787938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white">
          <a:xfrm rot="16200000" flipH="1">
            <a:off x="3836394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white">
          <a:xfrm rot="16200000" flipH="1">
            <a:off x="431741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 bwMode="white">
          <a:xfrm rot="16200000" flipH="1">
            <a:off x="7644078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 bwMode="white">
          <a:xfrm rot="16200000" flipH="1">
            <a:off x="812033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997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4" r:id="rId3"/>
    <p:sldLayoutId id="2147483663" r:id="rId4"/>
    <p:sldLayoutId id="2147483688" r:id="rId5"/>
    <p:sldLayoutId id="2147483691" r:id="rId6"/>
    <p:sldLayoutId id="2147483664" r:id="rId7"/>
    <p:sldLayoutId id="2147483665" r:id="rId8"/>
    <p:sldLayoutId id="2147483666" r:id="rId9"/>
    <p:sldLayoutId id="2147483723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672" r:id="rId16"/>
    <p:sldLayoutId id="2147483673" r:id="rId17"/>
    <p:sldLayoutId id="2147483674" r:id="rId18"/>
    <p:sldLayoutId id="2147483675" r:id="rId19"/>
    <p:sldLayoutId id="2147483676" r:id="rId20"/>
    <p:sldLayoutId id="2147483683" r:id="rId21"/>
    <p:sldLayoutId id="2147483690" r:id="rId22"/>
  </p:sldLayoutIdLst>
  <p:transition>
    <p:fade/>
  </p:transition>
  <p:hf sldNum="0" hd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689" indent="-266689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64" indent="-266689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98490" indent="-274627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592" indent="-265102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18" indent="-274627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320" indent="-265102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pos="393">
          <p15:clr>
            <a:srgbClr val="F26B43"/>
          </p15:clr>
        </p15:guide>
        <p15:guide id="5" pos="3840">
          <p15:clr>
            <a:srgbClr val="F26B43"/>
          </p15:clr>
        </p15:guide>
        <p15:guide id="6" pos="3693">
          <p15:clr>
            <a:srgbClr val="F26B43"/>
          </p15:clr>
        </p15:guide>
        <p15:guide id="7" pos="3993">
          <p15:clr>
            <a:srgbClr val="F26B43"/>
          </p15:clr>
        </p15:guide>
        <p15:guide id="8" orient="horz" pos="4227">
          <p15:clr>
            <a:srgbClr val="F26B43"/>
          </p15:clr>
        </p15:guide>
        <p15:guide id="9" pos="2490">
          <p15:clr>
            <a:srgbClr val="F26B43"/>
          </p15:clr>
        </p15:guide>
        <p15:guide id="10" pos="2640">
          <p15:clr>
            <a:srgbClr val="F26B43"/>
          </p15:clr>
        </p15:guide>
        <p15:guide id="11" pos="2792">
          <p15:clr>
            <a:srgbClr val="F26B43"/>
          </p15:clr>
        </p15:guide>
        <p15:guide id="12" pos="4888">
          <p15:clr>
            <a:srgbClr val="F26B43"/>
          </p15:clr>
        </p15:guide>
        <p15:guide id="13" pos="5038">
          <p15:clr>
            <a:srgbClr val="F26B43"/>
          </p15:clr>
        </p15:guide>
        <p15:guide id="14" pos="518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8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pic>
        <p:nvPicPr>
          <p:cNvPr id="40" name="Picture 39"/>
          <p:cNvPicPr>
            <a:picLocks noChangeAspect="1"/>
          </p:cNvPicPr>
          <p:nvPr userDrawn="1"/>
        </p:nvPicPr>
        <p:blipFill rotWithShape="1">
          <a:blip r:embed="rId2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667"/>
          <a:stretch/>
        </p:blipFill>
        <p:spPr>
          <a:xfrm>
            <a:off x="0" y="0"/>
            <a:ext cx="12192000" cy="1874520"/>
          </a:xfrm>
          <a:prstGeom prst="rect">
            <a:avLst/>
          </a:prstGeom>
        </p:spPr>
      </p:pic>
      <p:sp>
        <p:nvSpPr>
          <p:cNvPr id="8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24419" y="188913"/>
            <a:ext cx="1094316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itle (2 lines max)</a:t>
            </a:r>
            <a:endParaRPr lang="en-GB" altLang="en-US" dirty="0" smtClean="0"/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12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624419" y="1144589"/>
            <a:ext cx="10943165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ext (use indent for a higher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grpSp>
        <p:nvGrpSpPr>
          <p:cNvPr id="2" name="Group 1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14" name="Rectangle 1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20" name="Rectangle 1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dirty="0">
                <a:solidFill>
                  <a:prstClr val="white"/>
                </a:solidFill>
              </a:endParaRPr>
            </a:p>
          </p:txBody>
        </p:sp>
        <p:grpSp>
          <p:nvGrpSpPr>
            <p:cNvPr id="2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6" name="Straight Connector 3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2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00383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  <p:sldLayoutId id="2147483728" r:id="rId4"/>
    <p:sldLayoutId id="2147483729" r:id="rId5"/>
    <p:sldLayoutId id="2147483730" r:id="rId6"/>
    <p:sldLayoutId id="2147483731" r:id="rId7"/>
    <p:sldLayoutId id="2147483732" r:id="rId8"/>
    <p:sldLayoutId id="2147483733" r:id="rId9"/>
    <p:sldLayoutId id="2147483734" r:id="rId10"/>
    <p:sldLayoutId id="2147483735" r:id="rId11"/>
    <p:sldLayoutId id="2147483736" r:id="rId12"/>
    <p:sldLayoutId id="2147483737" r:id="rId13"/>
    <p:sldLayoutId id="2147483738" r:id="rId14"/>
    <p:sldLayoutId id="2147483739" r:id="rId15"/>
    <p:sldLayoutId id="2147483740" r:id="rId16"/>
    <p:sldLayoutId id="2147483741" r:id="rId17"/>
    <p:sldLayoutId id="2147483742" r:id="rId18"/>
    <p:sldLayoutId id="2147483743" r:id="rId19"/>
    <p:sldLayoutId id="2147483744" r:id="rId20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88" indent="-2667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74638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511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4638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388" indent="-26511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5465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pos="295">
          <p15:clr>
            <a:srgbClr val="F26B43"/>
          </p15:clr>
        </p15:guide>
        <p15:guide id="5" pos="2880">
          <p15:clr>
            <a:srgbClr val="F26B43"/>
          </p15:clr>
        </p15:guide>
        <p15:guide id="6" pos="2767">
          <p15:clr>
            <a:srgbClr val="F26B43"/>
          </p15:clr>
        </p15:guide>
        <p15:guide id="7" pos="2993">
          <p15:clr>
            <a:srgbClr val="F26B43"/>
          </p15:clr>
        </p15:guide>
        <p15:guide id="8" orient="horz" pos="42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0" name="think-cell Slide" r:id="rId15" imgW="540" imgH="541" progId="TCLayout.ActiveDocument.1">
                  <p:embed/>
                </p:oleObj>
              </mc:Choice>
              <mc:Fallback>
                <p:oleObj name="think-cell Slide" r:id="rId15" imgW="540" imgH="54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8AE6D0-33B3-406E-BEF9-80EB7B386A05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2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B44242-7618-48AD-B87E-592377F95A6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264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  <p:sldLayoutId id="2147483756" r:id="rId9"/>
    <p:sldLayoutId id="2147483757" r:id="rId10"/>
    <p:sldLayoutId id="214748375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2649056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7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624419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24419" y="188913"/>
            <a:ext cx="1094316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itle (2 lines max)</a:t>
            </a:r>
            <a:endParaRPr lang="en-GB" altLang="en-US" dirty="0" smtClean="0"/>
          </a:p>
        </p:txBody>
      </p:sp>
      <p:sp>
        <p:nvSpPr>
          <p:cNvPr id="9" name="Rectangle 5"/>
          <p:cNvSpPr txBox="1">
            <a:spLocks noChangeArrowheads="1"/>
          </p:cNvSpPr>
          <p:nvPr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26572" y="6234113"/>
            <a:ext cx="146174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624419" y="1144589"/>
            <a:ext cx="10943165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ext (use indent for a higher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prstClr val="black"/>
                </a:solidFill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14" name="Rectangle 1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20" name="Rectangle 1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2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6" name="Straight Connector 3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2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5594223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72" r:id="rId13"/>
    <p:sldLayoutId id="2147483773" r:id="rId14"/>
    <p:sldLayoutId id="2147483774" r:id="rId15"/>
    <p:sldLayoutId id="2147483775" r:id="rId16"/>
    <p:sldLayoutId id="2147483776" r:id="rId17"/>
    <p:sldLayoutId id="2147483777" r:id="rId18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88" indent="-2667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74638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511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4638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388" indent="-26511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5465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pos="295">
          <p15:clr>
            <a:srgbClr val="F26B43"/>
          </p15:clr>
        </p15:guide>
        <p15:guide id="5" pos="2880">
          <p15:clr>
            <a:srgbClr val="F26B43"/>
          </p15:clr>
        </p15:guide>
        <p15:guide id="6" pos="2767">
          <p15:clr>
            <a:srgbClr val="F26B43"/>
          </p15:clr>
        </p15:guide>
        <p15:guide id="7" pos="2993">
          <p15:clr>
            <a:srgbClr val="F26B43"/>
          </p15:clr>
        </p15:guide>
        <p15:guide id="8" orient="horz" pos="422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7" name="think-cell Slide" r:id="rId27" imgW="216" imgH="216" progId="TCLayout.ActiveDocument.1">
                  <p:embed/>
                </p:oleObj>
              </mc:Choice>
              <mc:Fallback>
                <p:oleObj name="think-cell Slide" r:id="rId2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624421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91436" tIns="45719" rIns="91436" bIns="45719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24421" y="188914"/>
            <a:ext cx="1094316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itle (2 lines max)</a:t>
            </a:r>
            <a:endParaRPr lang="en-GB" altLang="en-US"/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624417" y="6560605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sp>
        <p:nvSpPr>
          <p:cNvPr id="12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624420" y="1144591"/>
            <a:ext cx="10943165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ext (use indent for a higher bullet level)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</p:txBody>
      </p:sp>
      <p:sp>
        <p:nvSpPr>
          <p:cNvPr id="14" name="Rectangle 13"/>
          <p:cNvSpPr/>
          <p:nvPr userDrawn="1"/>
        </p:nvSpPr>
        <p:spPr bwMode="white">
          <a:xfrm rot="5400000">
            <a:off x="5979323" y="-6304754"/>
            <a:ext cx="233362" cy="12192000"/>
          </a:xfrm>
          <a:prstGeom prst="rect">
            <a:avLst/>
          </a:prstGeom>
          <a:solidFill>
            <a:srgbClr val="FFFFFF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9" rIns="91436" bIns="45719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cxnSp>
        <p:nvCxnSpPr>
          <p:cNvPr id="15" name="Straight Connector 14"/>
          <p:cNvCxnSpPr/>
          <p:nvPr userDrawn="1"/>
        </p:nvCxnSpPr>
        <p:spPr bwMode="white">
          <a:xfrm rot="16200000" flipH="1">
            <a:off x="507736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 bwMode="white">
          <a:xfrm rot="16200000" flipH="1">
            <a:off x="11450903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 bwMode="white">
          <a:xfrm rot="16200000" flipH="1">
            <a:off x="5745427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 bwMode="white">
          <a:xfrm rot="16200000" flipH="1">
            <a:off x="6221679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39"/>
          <p:cNvGrpSpPr>
            <a:grpSpLocks/>
          </p:cNvGrpSpPr>
          <p:nvPr userDrawn="1"/>
        </p:nvGrpSpPr>
        <p:grpSpPr bwMode="white">
          <a:xfrm>
            <a:off x="-753534" y="1"/>
            <a:ext cx="654051" cy="6865938"/>
            <a:chOff x="-565302" y="0"/>
            <a:chExt cx="490967" cy="6865432"/>
          </a:xfrm>
        </p:grpSpPr>
        <p:sp>
          <p:nvSpPr>
            <p:cNvPr id="20" name="Rectangle 1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grpSp>
          <p:nvGrpSpPr>
            <p:cNvPr id="2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6" name="Straight Connector 3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TextBox 43"/>
            <p:cNvSpPr txBox="1">
              <a:spLocks noChangeArrowheads="1"/>
            </p:cNvSpPr>
            <p:nvPr userDrawn="1"/>
          </p:nvSpPr>
          <p:spPr bwMode="white">
            <a:xfrm>
              <a:off x="-536401" y="102862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24" name="TextBox 44"/>
            <p:cNvSpPr txBox="1">
              <a:spLocks noChangeArrowheads="1"/>
            </p:cNvSpPr>
            <p:nvPr userDrawn="1"/>
          </p:nvSpPr>
          <p:spPr bwMode="white">
            <a:xfrm>
              <a:off x="-536401" y="2182652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5" name="TextBox 45"/>
            <p:cNvSpPr txBox="1">
              <a:spLocks noChangeArrowheads="1"/>
            </p:cNvSpPr>
            <p:nvPr userDrawn="1"/>
          </p:nvSpPr>
          <p:spPr bwMode="white">
            <a:xfrm>
              <a:off x="-536401" y="4463721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6" name="TextBox 46"/>
            <p:cNvSpPr txBox="1">
              <a:spLocks noChangeArrowheads="1"/>
            </p:cNvSpPr>
            <p:nvPr userDrawn="1"/>
          </p:nvSpPr>
          <p:spPr bwMode="white">
            <a:xfrm>
              <a:off x="-536401" y="560187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7" name="TextBox 47"/>
            <p:cNvSpPr txBox="1">
              <a:spLocks noChangeArrowheads="1"/>
            </p:cNvSpPr>
            <p:nvPr userDrawn="1"/>
          </p:nvSpPr>
          <p:spPr bwMode="white">
            <a:xfrm>
              <a:off x="-536401" y="1611194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8" name="TextBox 48"/>
            <p:cNvSpPr txBox="1">
              <a:spLocks noChangeArrowheads="1"/>
            </p:cNvSpPr>
            <p:nvPr userDrawn="1"/>
          </p:nvSpPr>
          <p:spPr bwMode="white">
            <a:xfrm>
              <a:off x="-536401" y="5049465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9" name="TextBox 49"/>
            <p:cNvSpPr txBox="1">
              <a:spLocks noChangeArrowheads="1"/>
            </p:cNvSpPr>
            <p:nvPr userDrawn="1"/>
          </p:nvSpPr>
          <p:spPr bwMode="white">
            <a:xfrm>
              <a:off x="-536401" y="3338267"/>
              <a:ext cx="245677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  <p:cxnSp>
        <p:nvCxnSpPr>
          <p:cNvPr id="40" name="Straight Connector 39"/>
          <p:cNvCxnSpPr/>
          <p:nvPr userDrawn="1"/>
        </p:nvCxnSpPr>
        <p:spPr bwMode="white">
          <a:xfrm rot="16200000" flipH="1">
            <a:off x="5979319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 bwMode="white">
          <a:xfrm rot="16200000" flipH="1">
            <a:off x="4074496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/>
          <p:nvPr userDrawn="1"/>
        </p:nvCxnSpPr>
        <p:spPr bwMode="white">
          <a:xfrm rot="16200000" flipH="1">
            <a:off x="787938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 userDrawn="1"/>
        </p:nvCxnSpPr>
        <p:spPr bwMode="white">
          <a:xfrm rot="16200000" flipH="1">
            <a:off x="3836394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 userDrawn="1"/>
        </p:nvCxnSpPr>
        <p:spPr bwMode="white">
          <a:xfrm rot="16200000" flipH="1">
            <a:off x="431741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 bwMode="white">
          <a:xfrm rot="16200000" flipH="1">
            <a:off x="7644078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 userDrawn="1"/>
        </p:nvCxnSpPr>
        <p:spPr bwMode="white">
          <a:xfrm rot="16200000" flipH="1">
            <a:off x="8120330" y="-208756"/>
            <a:ext cx="23336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1600" y="5916857"/>
            <a:ext cx="1396331" cy="612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4228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</p:sldLayoutIdLst>
  <p:transition>
    <p:fade/>
  </p:transition>
  <p:hf sldNum="0" hdr="0" dt="0"/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689" indent="-266689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64" indent="-266689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98490" indent="-274627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592" indent="-265102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18" indent="-274627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320" indent="-265102" algn="l" defTabSz="914363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n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7287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pos="393">
          <p15:clr>
            <a:srgbClr val="F26B43"/>
          </p15:clr>
        </p15:guide>
        <p15:guide id="5" pos="3840">
          <p15:clr>
            <a:srgbClr val="F26B43"/>
          </p15:clr>
        </p15:guide>
        <p15:guide id="6" pos="3693">
          <p15:clr>
            <a:srgbClr val="F26B43"/>
          </p15:clr>
        </p15:guide>
        <p15:guide id="7" pos="3993">
          <p15:clr>
            <a:srgbClr val="F26B43"/>
          </p15:clr>
        </p15:guide>
        <p15:guide id="8" orient="horz" pos="4227">
          <p15:clr>
            <a:srgbClr val="F26B43"/>
          </p15:clr>
        </p15:guide>
        <p15:guide id="9" pos="2490">
          <p15:clr>
            <a:srgbClr val="F26B43"/>
          </p15:clr>
        </p15:guide>
        <p15:guide id="10" pos="2640">
          <p15:clr>
            <a:srgbClr val="F26B43"/>
          </p15:clr>
        </p15:guide>
        <p15:guide id="11" pos="2792">
          <p15:clr>
            <a:srgbClr val="F26B43"/>
          </p15:clr>
        </p15:guide>
        <p15:guide id="12" pos="4888">
          <p15:clr>
            <a:srgbClr val="F26B43"/>
          </p15:clr>
        </p15:guide>
        <p15:guide id="13" pos="5038">
          <p15:clr>
            <a:srgbClr val="F26B43"/>
          </p15:clr>
        </p15:guide>
        <p15:guide id="14" pos="518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958046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4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Line 9"/>
          <p:cNvSpPr>
            <a:spLocks noChangeShapeType="1"/>
          </p:cNvSpPr>
          <p:nvPr/>
        </p:nvSpPr>
        <p:spPr bwMode="auto">
          <a:xfrm>
            <a:off x="624419" y="1052513"/>
            <a:ext cx="10943167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8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624419" y="188913"/>
            <a:ext cx="10943167" cy="792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itle (2 lines max)</a:t>
            </a:r>
            <a:endParaRPr lang="en-GB" altLang="en-US" dirty="0" smtClean="0"/>
          </a:p>
        </p:txBody>
      </p:sp>
      <p:sp>
        <p:nvSpPr>
          <p:cNvPr id="9" name="Rectangle 5"/>
          <p:cNvSpPr txBox="1">
            <a:spLocks noChangeArrowheads="1"/>
          </p:cNvSpPr>
          <p:nvPr/>
        </p:nvSpPr>
        <p:spPr bwMode="auto">
          <a:xfrm>
            <a:off x="1018120" y="6630990"/>
            <a:ext cx="1466849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>
              <a:defRPr sz="1000" noProof="1" smtClean="0">
                <a:solidFill>
                  <a:schemeClr val="bg2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>
                <a:solidFill>
                  <a:srgbClr val="000000"/>
                </a:solidFill>
                <a:cs typeface="Arial" panose="020B0604020202020204" pitchFamily="34" charset="0"/>
              </a:rPr>
              <a:t>Johnson Controls, Inc. —</a:t>
            </a:r>
            <a:endParaRPr lang="en-GB" sz="6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624417" y="6560604"/>
            <a:ext cx="35983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5CFF3644-1C11-477C-A5D5-3A3BC5CE8122}" type="slidenum">
              <a:rPr lang="de-DE" sz="900" smtClean="0">
                <a:solidFill>
                  <a:srgbClr val="000000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 sz="900">
              <a:solidFill>
                <a:srgbClr val="000000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26572" y="6234113"/>
            <a:ext cx="1461745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1"/>
          <p:cNvSpPr>
            <a:spLocks noGrp="1"/>
          </p:cNvSpPr>
          <p:nvPr>
            <p:ph type="body" idx="1"/>
          </p:nvPr>
        </p:nvSpPr>
        <p:spPr bwMode="auto">
          <a:xfrm>
            <a:off x="624419" y="1144589"/>
            <a:ext cx="10943165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text (use indent for a higher bullet level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</a:p>
        </p:txBody>
      </p:sp>
      <p:sp>
        <p:nvSpPr>
          <p:cNvPr id="13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2207851" y="6581111"/>
            <a:ext cx="6333956" cy="1936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prstClr val="black"/>
                </a:solidFill>
                <a:cs typeface="Arial" panose="020B0604020202020204" pitchFamily="34" charset="0"/>
              </a:rPr>
              <a:t>Footer - Use 'Insert &gt;Header &amp; Footer' to modify this text and ‘Apply to all’</a:t>
            </a:r>
            <a:endParaRPr lang="en-GB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1"/>
          <p:cNvGrpSpPr/>
          <p:nvPr userDrawn="1"/>
        </p:nvGrpSpPr>
        <p:grpSpPr bwMode="white">
          <a:xfrm>
            <a:off x="4" y="-325436"/>
            <a:ext cx="12192000" cy="233362"/>
            <a:chOff x="3" y="-325436"/>
            <a:chExt cx="9144000" cy="233362"/>
          </a:xfrm>
        </p:grpSpPr>
        <p:sp>
          <p:nvSpPr>
            <p:cNvPr id="14" name="Rectangle 13"/>
            <p:cNvSpPr/>
            <p:nvPr userDrawn="1"/>
          </p:nvSpPr>
          <p:spPr bwMode="white">
            <a:xfrm rot="5400000">
              <a:off x="4455322" y="-4780754"/>
              <a:ext cx="233361" cy="9144000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cxnSp>
          <p:nvCxnSpPr>
            <p:cNvPr id="15" name="Straight Connector 14"/>
            <p:cNvCxnSpPr/>
            <p:nvPr userDrawn="1"/>
          </p:nvCxnSpPr>
          <p:spPr bwMode="white">
            <a:xfrm rot="16200000" flipH="1">
              <a:off x="351632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 userDrawn="1"/>
          </p:nvCxnSpPr>
          <p:spPr bwMode="white">
            <a:xfrm rot="16200000" flipH="1">
              <a:off x="8559007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 userDrawn="1"/>
          </p:nvCxnSpPr>
          <p:spPr bwMode="white">
            <a:xfrm rot="16200000" flipH="1">
              <a:off x="4279900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 userDrawn="1"/>
          </p:nvCxnSpPr>
          <p:spPr bwMode="white">
            <a:xfrm rot="16200000" flipH="1">
              <a:off x="4637089" y="-208755"/>
              <a:ext cx="233362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" name="Group 39"/>
          <p:cNvGrpSpPr>
            <a:grpSpLocks/>
          </p:cNvGrpSpPr>
          <p:nvPr userDrawn="1"/>
        </p:nvGrpSpPr>
        <p:grpSpPr bwMode="white">
          <a:xfrm>
            <a:off x="-753534" y="0"/>
            <a:ext cx="654051" cy="6865938"/>
            <a:chOff x="-565302" y="0"/>
            <a:chExt cx="490967" cy="6865432"/>
          </a:xfrm>
        </p:grpSpPr>
        <p:sp>
          <p:nvSpPr>
            <p:cNvPr id="20" name="Rectangle 19"/>
            <p:cNvSpPr/>
            <p:nvPr userDrawn="1"/>
          </p:nvSpPr>
          <p:spPr bwMode="white">
            <a:xfrm>
              <a:off x="-565302" y="0"/>
              <a:ext cx="490967" cy="6865432"/>
            </a:xfrm>
            <a:prstGeom prst="rect">
              <a:avLst/>
            </a:prstGeom>
            <a:solidFill>
              <a:srgbClr val="FFFFFF">
                <a:alpha val="3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GB" sz="1800" dirty="0">
                <a:solidFill>
                  <a:prstClr val="white"/>
                </a:solidFill>
              </a:endParaRPr>
            </a:p>
          </p:txBody>
        </p:sp>
        <p:grpSp>
          <p:nvGrpSpPr>
            <p:cNvPr id="21" name="Group 41"/>
            <p:cNvGrpSpPr>
              <a:grpSpLocks/>
            </p:cNvGrpSpPr>
            <p:nvPr userDrawn="1"/>
          </p:nvGrpSpPr>
          <p:grpSpPr bwMode="white">
            <a:xfrm>
              <a:off x="-307801" y="1143000"/>
              <a:ext cx="233465" cy="4572000"/>
              <a:chOff x="-361009" y="1143000"/>
              <a:chExt cx="286674" cy="4572000"/>
            </a:xfrm>
          </p:grpSpPr>
          <p:cxnSp>
            <p:nvCxnSpPr>
              <p:cNvPr id="36" name="Straight Connector 35"/>
              <p:cNvCxnSpPr/>
              <p:nvPr userDrawn="1"/>
            </p:nvCxnSpPr>
            <p:spPr bwMode="white">
              <a:xfrm flipH="1">
                <a:off x="-361132" y="5714579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/>
              <p:cNvCxnSpPr/>
              <p:nvPr userDrawn="1"/>
            </p:nvCxnSpPr>
            <p:spPr bwMode="white">
              <a:xfrm flipH="1">
                <a:off x="-361132" y="4571663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Connector 37"/>
              <p:cNvCxnSpPr/>
              <p:nvPr userDrawn="1"/>
            </p:nvCxnSpPr>
            <p:spPr bwMode="white">
              <a:xfrm flipH="1">
                <a:off x="-361132" y="2285832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/>
              <p:cNvCxnSpPr/>
              <p:nvPr userDrawn="1"/>
            </p:nvCxnSpPr>
            <p:spPr bwMode="white">
              <a:xfrm flipH="1">
                <a:off x="-361132" y="1142916"/>
                <a:ext cx="286798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2" name="Group 28"/>
            <p:cNvGrpSpPr>
              <a:grpSpLocks/>
            </p:cNvGrpSpPr>
            <p:nvPr userDrawn="1"/>
          </p:nvGrpSpPr>
          <p:grpSpPr bwMode="white">
            <a:xfrm>
              <a:off x="-307801" y="0"/>
              <a:ext cx="233466" cy="6865432"/>
              <a:chOff x="-564989" y="0"/>
              <a:chExt cx="490654" cy="6865432"/>
            </a:xfrm>
          </p:grpSpPr>
          <p:cxnSp>
            <p:nvCxnSpPr>
              <p:cNvPr id="30" name="Straight Connector 29"/>
              <p:cNvCxnSpPr/>
              <p:nvPr userDrawn="1"/>
            </p:nvCxnSpPr>
            <p:spPr bwMode="white">
              <a:xfrm flipH="1">
                <a:off x="-361508" y="0"/>
                <a:ext cx="287173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Straight Connector 30"/>
              <p:cNvCxnSpPr/>
              <p:nvPr userDrawn="1"/>
            </p:nvCxnSpPr>
            <p:spPr bwMode="white">
              <a:xfrm flipH="1">
                <a:off x="-565199" y="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Straight Connector 31"/>
              <p:cNvCxnSpPr/>
              <p:nvPr userDrawn="1"/>
            </p:nvCxnSpPr>
            <p:spPr bwMode="white">
              <a:xfrm flipH="1">
                <a:off x="-565199" y="171596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/>
              <p:cNvCxnSpPr/>
              <p:nvPr userDrawn="1"/>
            </p:nvCxnSpPr>
            <p:spPr bwMode="white">
              <a:xfrm flipH="1">
                <a:off x="-565199" y="343351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Connector 33"/>
              <p:cNvCxnSpPr/>
              <p:nvPr userDrawn="1"/>
            </p:nvCxnSpPr>
            <p:spPr bwMode="white">
              <a:xfrm flipH="1">
                <a:off x="-565199" y="5149470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 userDrawn="1"/>
            </p:nvCxnSpPr>
            <p:spPr bwMode="white">
              <a:xfrm flipH="1">
                <a:off x="-565199" y="6865432"/>
                <a:ext cx="490864" cy="0"/>
              </a:xfrm>
              <a:prstGeom prst="line">
                <a:avLst/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3" name="TextBox 43"/>
            <p:cNvSpPr txBox="1">
              <a:spLocks noChangeArrowheads="1"/>
            </p:cNvSpPr>
            <p:nvPr userDrawn="1"/>
          </p:nvSpPr>
          <p:spPr bwMode="white">
            <a:xfrm>
              <a:off x="-537022" y="102862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6</a:t>
              </a:r>
            </a:p>
          </p:txBody>
        </p:sp>
        <p:sp>
          <p:nvSpPr>
            <p:cNvPr id="24" name="TextBox 44"/>
            <p:cNvSpPr txBox="1">
              <a:spLocks noChangeArrowheads="1"/>
            </p:cNvSpPr>
            <p:nvPr userDrawn="1"/>
          </p:nvSpPr>
          <p:spPr bwMode="white">
            <a:xfrm>
              <a:off x="-537022" y="2182652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2/6</a:t>
              </a:r>
            </a:p>
          </p:txBody>
        </p:sp>
        <p:sp>
          <p:nvSpPr>
            <p:cNvPr id="25" name="TextBox 45"/>
            <p:cNvSpPr txBox="1">
              <a:spLocks noChangeArrowheads="1"/>
            </p:cNvSpPr>
            <p:nvPr userDrawn="1"/>
          </p:nvSpPr>
          <p:spPr bwMode="white">
            <a:xfrm>
              <a:off x="-537022" y="4463721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4/6</a:t>
              </a:r>
            </a:p>
          </p:txBody>
        </p:sp>
        <p:sp>
          <p:nvSpPr>
            <p:cNvPr id="26" name="TextBox 46"/>
            <p:cNvSpPr txBox="1">
              <a:spLocks noChangeArrowheads="1"/>
            </p:cNvSpPr>
            <p:nvPr userDrawn="1"/>
          </p:nvSpPr>
          <p:spPr bwMode="white">
            <a:xfrm>
              <a:off x="-537022" y="5601875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5/6</a:t>
              </a:r>
            </a:p>
          </p:txBody>
        </p:sp>
        <p:sp>
          <p:nvSpPr>
            <p:cNvPr id="27" name="TextBox 47"/>
            <p:cNvSpPr txBox="1">
              <a:spLocks noChangeArrowheads="1"/>
            </p:cNvSpPr>
            <p:nvPr userDrawn="1"/>
          </p:nvSpPr>
          <p:spPr bwMode="white">
            <a:xfrm>
              <a:off x="-537022" y="1611194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4</a:t>
              </a:r>
            </a:p>
          </p:txBody>
        </p:sp>
        <p:sp>
          <p:nvSpPr>
            <p:cNvPr id="28" name="TextBox 48"/>
            <p:cNvSpPr txBox="1">
              <a:spLocks noChangeArrowheads="1"/>
            </p:cNvSpPr>
            <p:nvPr userDrawn="1"/>
          </p:nvSpPr>
          <p:spPr bwMode="white">
            <a:xfrm>
              <a:off x="-537022" y="5049466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3/4</a:t>
              </a:r>
            </a:p>
          </p:txBody>
        </p:sp>
        <p:sp>
          <p:nvSpPr>
            <p:cNvPr id="29" name="TextBox 49"/>
            <p:cNvSpPr txBox="1">
              <a:spLocks noChangeArrowheads="1"/>
            </p:cNvSpPr>
            <p:nvPr userDrawn="1"/>
          </p:nvSpPr>
          <p:spPr bwMode="white">
            <a:xfrm>
              <a:off x="-537022" y="3338267"/>
              <a:ext cx="246918" cy="215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altLang="en-US" sz="800" dirty="0" smtClean="0">
                  <a:solidFill>
                    <a:srgbClr val="A6A6A6"/>
                  </a:solidFill>
                  <a:cs typeface="Arial" charset="0"/>
                </a:rPr>
                <a:t>1/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5790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</p:sldLayoutIdLst>
  <p:transition>
    <p:fade/>
  </p:transition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3888" indent="-2667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98525" indent="-274638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63638" indent="-26511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438275" indent="-274638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703388" indent="-265113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Font typeface="Lucida Grande"/>
        <a:buChar char="▪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5465">
          <p15:clr>
            <a:srgbClr val="F26B43"/>
          </p15:clr>
        </p15:guide>
        <p15:guide id="3" orient="horz" pos="754">
          <p15:clr>
            <a:srgbClr val="F26B43"/>
          </p15:clr>
        </p15:guide>
        <p15:guide id="4" pos="295">
          <p15:clr>
            <a:srgbClr val="F26B43"/>
          </p15:clr>
        </p15:guide>
        <p15:guide id="5" pos="2880">
          <p15:clr>
            <a:srgbClr val="F26B43"/>
          </p15:clr>
        </p15:guide>
        <p15:guide id="6" pos="2767">
          <p15:clr>
            <a:srgbClr val="F26B43"/>
          </p15:clr>
        </p15:guide>
        <p15:guide id="7" pos="2993">
          <p15:clr>
            <a:srgbClr val="F26B43"/>
          </p15:clr>
        </p15:guide>
        <p15:guide id="8" orient="horz" pos="42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11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tags" Target="../tags/tag53.xml"/><Relationship Id="rId7" Type="http://schemas.openxmlformats.org/officeDocument/2006/relationships/image" Target="../media/image55.emf"/><Relationship Id="rId12" Type="http://schemas.openxmlformats.org/officeDocument/2006/relationships/hyperlink" Target="https://youtu.be/yrZJLXmqkeA" TargetMode="External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1.emf"/><Relationship Id="rId11" Type="http://schemas.openxmlformats.org/officeDocument/2006/relationships/image" Target="../media/image59.png"/><Relationship Id="rId5" Type="http://schemas.openxmlformats.org/officeDocument/2006/relationships/oleObject" Target="../embeddings/oleObject30.bin"/><Relationship Id="rId10" Type="http://schemas.openxmlformats.org/officeDocument/2006/relationships/image" Target="../media/image58.png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5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8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60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g"/><Relationship Id="rId13" Type="http://schemas.openxmlformats.org/officeDocument/2006/relationships/image" Target="../media/image27.png"/><Relationship Id="rId18" Type="http://schemas.openxmlformats.org/officeDocument/2006/relationships/image" Target="../media/image32.png"/><Relationship Id="rId3" Type="http://schemas.openxmlformats.org/officeDocument/2006/relationships/tags" Target="../tags/tag29.xml"/><Relationship Id="rId7" Type="http://schemas.openxmlformats.org/officeDocument/2006/relationships/image" Target="../media/image22.png"/><Relationship Id="rId12" Type="http://schemas.openxmlformats.org/officeDocument/2006/relationships/image" Target="../media/image26.png"/><Relationship Id="rId17" Type="http://schemas.openxmlformats.org/officeDocument/2006/relationships/image" Target="../media/image31.png"/><Relationship Id="rId2" Type="http://schemas.openxmlformats.org/officeDocument/2006/relationships/tags" Target="../tags/tag28.xml"/><Relationship Id="rId16" Type="http://schemas.openxmlformats.org/officeDocument/2006/relationships/image" Target="../media/image30.png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71.xml"/><Relationship Id="rId9" Type="http://schemas.openxmlformats.org/officeDocument/2006/relationships/hyperlink" Target="mailto:Andrew.Pergande@JCI.com" TargetMode="External"/><Relationship Id="rId1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3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7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tags" Target="../tags/tag33.xml"/><Relationship Id="rId7" Type="http://schemas.openxmlformats.org/officeDocument/2006/relationships/hyperlink" Target="http://images.more.deltek.com/Web/DeltekInc/%7b99f494a0-c09d-4fb4-8b97-e1da9a5fe78f%7d_Survey-of-Government-Procurement-Professionals-2018-GovWin-Deltek.pdf" TargetMode="External"/><Relationship Id="rId2" Type="http://schemas.openxmlformats.org/officeDocument/2006/relationships/tags" Target="../tags/tag3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.bin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3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slideLayout" Target="../slideLayouts/slideLayout7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chart" Target="../charts/chart1.xml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tags" Target="../tags/tag45.xml"/><Relationship Id="rId7" Type="http://schemas.openxmlformats.org/officeDocument/2006/relationships/image" Target="../media/image36.jpg"/><Relationship Id="rId12" Type="http://schemas.openxmlformats.org/officeDocument/2006/relationships/image" Target="../media/image41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1.emf"/><Relationship Id="rId11" Type="http://schemas.openxmlformats.org/officeDocument/2006/relationships/image" Target="../media/image40.pn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7.bin"/><Relationship Id="rId4" Type="http://schemas.openxmlformats.org/officeDocument/2006/relationships/slideLayout" Target="../slideLayouts/slideLayout7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37.png"/><Relationship Id="rId3" Type="http://schemas.openxmlformats.org/officeDocument/2006/relationships/tags" Target="../tags/tag49.xml"/><Relationship Id="rId7" Type="http://schemas.openxmlformats.org/officeDocument/2006/relationships/image" Target="../media/image38.png"/><Relationship Id="rId12" Type="http://schemas.openxmlformats.org/officeDocument/2006/relationships/image" Target="../media/image48.png"/><Relationship Id="rId2" Type="http://schemas.openxmlformats.org/officeDocument/2006/relationships/tags" Target="../tags/tag48.xml"/><Relationship Id="rId16" Type="http://schemas.openxmlformats.org/officeDocument/2006/relationships/image" Target="../media/image51.png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1.emf"/><Relationship Id="rId11" Type="http://schemas.openxmlformats.org/officeDocument/2006/relationships/image" Target="../media/image47.png"/><Relationship Id="rId5" Type="http://schemas.openxmlformats.org/officeDocument/2006/relationships/oleObject" Target="../embeddings/oleObject28.bin"/><Relationship Id="rId15" Type="http://schemas.openxmlformats.org/officeDocument/2006/relationships/image" Target="../media/image50.png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45.png"/><Relationship Id="rId1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51.xml"/><Relationship Id="rId7" Type="http://schemas.openxmlformats.org/officeDocument/2006/relationships/image" Target="../media/image52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9.bin"/><Relationship Id="rId4" Type="http://schemas.openxmlformats.org/officeDocument/2006/relationships/slideLayout" Target="../slideLayouts/slideLayout71.xml"/><Relationship Id="rId9" Type="http://schemas.openxmlformats.org/officeDocument/2006/relationships/image" Target="../media/image5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4477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3869462"/>
            <a:ext cx="12192000" cy="1150279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50849" y="4146423"/>
            <a:ext cx="953990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 smtClean="0">
                <a:solidFill>
                  <a:prstClr val="white"/>
                </a:solidFill>
              </a:rPr>
              <a:t>Alternative Procurement Methods</a:t>
            </a:r>
            <a:endParaRPr lang="en-US" sz="2800" i="1" dirty="0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282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9532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52852" y="1742115"/>
            <a:ext cx="3972741" cy="3983006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Cooperative Membership</a:t>
            </a:r>
            <a:endParaRPr lang="en-US" b="1" dirty="0">
              <a:solidFill>
                <a:prstClr val="white"/>
              </a:solidFill>
            </a:endParaRPr>
          </a:p>
        </p:txBody>
      </p:sp>
      <p:pic>
        <p:nvPicPr>
          <p:cNvPr id="56" name="Picture 5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95934" y="1814351"/>
            <a:ext cx="2764310" cy="118126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55091" y="3129836"/>
            <a:ext cx="2219773" cy="162670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9318" y="1564339"/>
            <a:ext cx="4043165" cy="45003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9" name="Picture 58"/>
          <p:cNvPicPr>
            <a:picLocks noChangeAspect="1"/>
          </p:cNvPicPr>
          <p:nvPr/>
        </p:nvPicPr>
        <p:blipFill rotWithShape="1">
          <a:blip r:embed="rId11"/>
          <a:srcRect l="3538"/>
          <a:stretch/>
        </p:blipFill>
        <p:spPr>
          <a:xfrm>
            <a:off x="4747340" y="4940920"/>
            <a:ext cx="2435273" cy="968867"/>
          </a:xfrm>
          <a:prstGeom prst="round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8221595" y="5725121"/>
            <a:ext cx="32752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FFFFFF"/>
                </a:solidFill>
                <a:latin typeface="YouTube Noto"/>
                <a:hlinkClick r:id="rId12"/>
              </a:rPr>
              <a:t>https://youtu.be/yrZJLXmqk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7257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4095192"/>
              </p:ext>
            </p:extLst>
          </p:nvPr>
        </p:nvGraphicFramePr>
        <p:xfrm>
          <a:off x="1525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/>
          <p:cNvSpPr/>
          <p:nvPr/>
        </p:nvSpPr>
        <p:spPr>
          <a:xfrm>
            <a:off x="6306206" y="-56755"/>
            <a:ext cx="5885793" cy="69147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prstClr val="white"/>
              </a:solidFill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1025809" y="2669440"/>
            <a:ext cx="4151586" cy="1114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250" dirty="0">
                <a:solidFill>
                  <a:srgbClr val="FFFFFF"/>
                </a:solidFill>
              </a:rPr>
              <a:t/>
            </a:r>
            <a:br>
              <a:rPr lang="en-US" sz="2250" dirty="0">
                <a:solidFill>
                  <a:srgbClr val="FFFFFF"/>
                </a:solidFill>
              </a:rPr>
            </a:br>
            <a:r>
              <a:rPr lang="en-US" sz="2250" dirty="0">
                <a:solidFill>
                  <a:srgbClr val="FFFFFF"/>
                </a:solidFill>
              </a:rPr>
              <a:t/>
            </a:r>
            <a:br>
              <a:rPr lang="en-US" sz="2250" dirty="0">
                <a:solidFill>
                  <a:srgbClr val="FFFFFF"/>
                </a:solidFill>
              </a:rPr>
            </a:br>
            <a:r>
              <a:rPr lang="en-US" sz="3300" b="1" dirty="0" smtClean="0">
                <a:solidFill>
                  <a:srgbClr val="FFFFFF"/>
                </a:solidFill>
              </a:rPr>
              <a:t>Questions &amp; Answers</a:t>
            </a:r>
            <a:endParaRPr lang="en-US" sz="3000" b="1" dirty="0">
              <a:solidFill>
                <a:srgbClr val="FFFFFF"/>
              </a:solidFill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10612" y="1327457"/>
            <a:ext cx="3516057" cy="3988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1771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44778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5383642" y="1197246"/>
            <a:ext cx="6287157" cy="5218700"/>
          </a:xfrm>
          <a:prstGeom prst="rect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7"/>
          <a:srcRect l="3678" b="5689"/>
          <a:stretch/>
        </p:blipFill>
        <p:spPr>
          <a:xfrm>
            <a:off x="5408866" y="1210574"/>
            <a:ext cx="6243015" cy="4560499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Introductions</a:t>
            </a:r>
            <a:endParaRPr lang="en-US" i="1" dirty="0" smtClean="0">
              <a:solidFill>
                <a:prstClr val="white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381060" y="1961804"/>
            <a:ext cx="2125192" cy="2102102"/>
            <a:chOff x="580171" y="1748826"/>
            <a:chExt cx="2125192" cy="2102102"/>
          </a:xfrm>
        </p:grpSpPr>
        <p:sp>
          <p:nvSpPr>
            <p:cNvPr id="5" name="Rectangle 4"/>
            <p:cNvSpPr/>
            <p:nvPr/>
          </p:nvSpPr>
          <p:spPr>
            <a:xfrm>
              <a:off x="580171" y="1748826"/>
              <a:ext cx="2125192" cy="21021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Placeholder 18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113" b="4113"/>
            <a:stretch>
              <a:fillRect/>
            </a:stretch>
          </p:blipFill>
          <p:spPr>
            <a:xfrm>
              <a:off x="713529" y="1851230"/>
              <a:ext cx="1867933" cy="1867933"/>
            </a:xfrm>
            <a:prstGeom prst="rect">
              <a:avLst/>
            </a:prstGeom>
          </p:spPr>
        </p:pic>
      </p:grpSp>
      <p:sp>
        <p:nvSpPr>
          <p:cNvPr id="20" name="Text Placeholder 3">
            <a:extLst>
              <a:ext uri="{FF2B5EF4-FFF2-40B4-BE49-F238E27FC236}">
                <a16:creationId xmlns:a16="http://schemas.microsoft.com/office/drawing/2014/main" xmlns="" id="{E3440A5C-E1B8-4152-8B4B-6344C669907B}"/>
              </a:ext>
            </a:extLst>
          </p:cNvPr>
          <p:cNvSpPr txBox="1">
            <a:spLocks/>
          </p:cNvSpPr>
          <p:nvPr/>
        </p:nvSpPr>
        <p:spPr>
          <a:xfrm>
            <a:off x="485787" y="4308832"/>
            <a:ext cx="3915737" cy="38100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buNone/>
            </a:pPr>
            <a:r>
              <a:rPr lang="en-US" sz="2000" dirty="0" smtClean="0"/>
              <a:t>Andrew Pergande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2000" dirty="0" smtClean="0"/>
              <a:t>Johnson Controls Director </a:t>
            </a:r>
            <a:r>
              <a:rPr lang="en-US" sz="2000" dirty="0"/>
              <a:t>of Customer </a:t>
            </a:r>
            <a:r>
              <a:rPr lang="en-US" sz="2000" dirty="0" smtClean="0"/>
              <a:t>Enablement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2000" dirty="0" smtClean="0"/>
              <a:t>(414) 524-6937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2000" dirty="0">
                <a:hlinkClick r:id="rId9"/>
              </a:rPr>
              <a:t>Andrew.Pergande@JCI.com</a:t>
            </a:r>
            <a:endParaRPr lang="en-US" sz="2000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8852" y="204302"/>
            <a:ext cx="764862" cy="370889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4187" y="1716878"/>
            <a:ext cx="756328" cy="694660"/>
          </a:xfrm>
          <a:prstGeom prst="rect">
            <a:avLst/>
          </a:prstGeom>
          <a:effectLst>
            <a:outerShdw blurRad="50800" dist="76200" dir="2700000" algn="tl" rotWithShape="0">
              <a:prstClr val="black">
                <a:alpha val="25000"/>
              </a:prstClr>
            </a:outerShdw>
          </a:effectLst>
        </p:spPr>
      </p:pic>
      <p:grpSp>
        <p:nvGrpSpPr>
          <p:cNvPr id="38" name="Group 37"/>
          <p:cNvGrpSpPr/>
          <p:nvPr/>
        </p:nvGrpSpPr>
        <p:grpSpPr>
          <a:xfrm>
            <a:off x="5503750" y="2425864"/>
            <a:ext cx="4359790" cy="973906"/>
            <a:chOff x="612028" y="3593632"/>
            <a:chExt cx="4359790" cy="973906"/>
          </a:xfrm>
        </p:grpSpPr>
        <p:sp>
          <p:nvSpPr>
            <p:cNvPr id="26" name="Rectangle 25"/>
            <p:cNvSpPr/>
            <p:nvPr/>
          </p:nvSpPr>
          <p:spPr>
            <a:xfrm>
              <a:off x="612028" y="3749341"/>
              <a:ext cx="4359790" cy="469491"/>
            </a:xfrm>
            <a:prstGeom prst="rect">
              <a:avLst/>
            </a:prstGeom>
            <a:solidFill>
              <a:srgbClr val="0F6FC6"/>
            </a:solidFill>
            <a:ln w="3175" cap="flat" cmpd="sng" algn="ctr">
              <a:solidFill>
                <a:srgbClr val="0F6FC6"/>
              </a:solidFill>
              <a:prstDash val="solid"/>
              <a:miter lim="800000"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ctr" anchorCtr="0"/>
            <a:lstStyle/>
            <a:p>
              <a:pPr algn="ctr"/>
              <a:endParaRPr lang="en-US" sz="1350" b="1" ker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800424" y="3593632"/>
              <a:ext cx="685800" cy="68580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rgbClr val="00B0F0"/>
              </a:solidFill>
              <a:prstDash val="solid"/>
              <a:miter lim="800000"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2418507" y="3593632"/>
              <a:ext cx="685800" cy="68580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rgbClr val="C00000"/>
              </a:solidFill>
              <a:prstDash val="solid"/>
              <a:miter lim="800000"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Oval 28"/>
            <p:cNvSpPr/>
            <p:nvPr/>
          </p:nvSpPr>
          <p:spPr>
            <a:xfrm>
              <a:off x="4054677" y="3593632"/>
              <a:ext cx="685800" cy="685800"/>
            </a:xfrm>
            <a:prstGeom prst="ellipse">
              <a:avLst/>
            </a:prstGeom>
            <a:solidFill>
              <a:sysClr val="window" lastClr="FFFFFF">
                <a:lumMod val="95000"/>
              </a:sysClr>
            </a:solidFill>
            <a:ln w="12700" cap="flat" cmpd="sng" algn="ctr">
              <a:solidFill>
                <a:srgbClr val="002060"/>
              </a:solidFill>
              <a:prstDash val="solid"/>
              <a:miter lim="800000"/>
            </a:ln>
            <a:effectLst>
              <a:innerShdw blurRad="114300">
                <a:prstClr val="black"/>
              </a:inn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object 59"/>
            <p:cNvSpPr/>
            <p:nvPr/>
          </p:nvSpPr>
          <p:spPr>
            <a:xfrm>
              <a:off x="872472" y="3665680"/>
              <a:ext cx="548640" cy="548640"/>
            </a:xfrm>
            <a:prstGeom prst="rect">
              <a:avLst/>
            </a:prstGeom>
            <a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25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" name="object 61"/>
            <p:cNvSpPr/>
            <p:nvPr/>
          </p:nvSpPr>
          <p:spPr>
            <a:xfrm>
              <a:off x="2490555" y="3666118"/>
              <a:ext cx="548640" cy="548640"/>
            </a:xfrm>
            <a:prstGeom prst="rect">
              <a:avLst/>
            </a:prstGeom>
            <a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25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2" name="object 60"/>
            <p:cNvSpPr/>
            <p:nvPr/>
          </p:nvSpPr>
          <p:spPr>
            <a:xfrm>
              <a:off x="4142136" y="3662044"/>
              <a:ext cx="548640" cy="548640"/>
            </a:xfrm>
            <a:prstGeom prst="rect">
              <a:avLst/>
            </a:prstGeom>
            <a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525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3" name="Plus 32"/>
            <p:cNvSpPr/>
            <p:nvPr/>
          </p:nvSpPr>
          <p:spPr>
            <a:xfrm>
              <a:off x="1692831" y="3767381"/>
              <a:ext cx="411480" cy="411480"/>
            </a:xfrm>
            <a:prstGeom prst="mathPlus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Plus 33"/>
            <p:cNvSpPr/>
            <p:nvPr/>
          </p:nvSpPr>
          <p:spPr>
            <a:xfrm>
              <a:off x="3418503" y="3767381"/>
              <a:ext cx="411480" cy="411480"/>
            </a:xfrm>
            <a:prstGeom prst="mathPlus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73988" y="4290539"/>
              <a:ext cx="7384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/>
                </a:rPr>
                <a:t>HVAC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2399563" y="4290539"/>
              <a:ext cx="73848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/>
                </a:rPr>
                <a:t>Fire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009136" y="4290539"/>
              <a:ext cx="82763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Arial"/>
                </a:rPr>
                <a:t>Security</a:t>
              </a:r>
            </a:p>
          </p:txBody>
        </p:sp>
      </p:grpSp>
      <p:pic>
        <p:nvPicPr>
          <p:cNvPr id="39" name="Picture 38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583627" y="5873213"/>
            <a:ext cx="1017849" cy="374129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95410" y="5789991"/>
            <a:ext cx="808721" cy="552626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033020" y="5885264"/>
            <a:ext cx="1261241" cy="362079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427784" y="5857660"/>
            <a:ext cx="1740351" cy="456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0159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Agenda</a:t>
            </a:r>
            <a:endParaRPr lang="en-US" i="1" dirty="0" smtClean="0">
              <a:solidFill>
                <a:prstClr val="white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94754" y="1025363"/>
            <a:ext cx="5169119" cy="555741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594754" y="1028127"/>
            <a:ext cx="5169119" cy="781754"/>
          </a:xfrm>
          <a:prstGeom prst="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TextBox 26"/>
          <p:cNvSpPr txBox="1"/>
          <p:nvPr/>
        </p:nvSpPr>
        <p:spPr>
          <a:xfrm>
            <a:off x="731695" y="1895044"/>
            <a:ext cx="496911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Introductions &amp; Overview</a:t>
            </a:r>
          </a:p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Procurement Trends </a:t>
            </a:r>
          </a:p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Cooperative Contract Overview</a:t>
            </a:r>
          </a:p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Benefits of Cooperative Procurement</a:t>
            </a:r>
          </a:p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Cooperative Contract </a:t>
            </a:r>
            <a:r>
              <a:rPr lang="en-US" sz="1800" dirty="0" smtClean="0"/>
              <a:t>Award Process</a:t>
            </a:r>
          </a:p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Open Discussion and Q&amp;A</a:t>
            </a:r>
            <a:endParaRPr lang="en-US" sz="1800" dirty="0" smtClean="0"/>
          </a:p>
          <a:p>
            <a:pPr marL="285750" indent="-285750">
              <a:spcAft>
                <a:spcPts val="3000"/>
              </a:spcAft>
              <a:buFont typeface="Wingdings" panose="05000000000000000000" pitchFamily="2" charset="2"/>
              <a:buChar char="§"/>
            </a:pPr>
            <a:endParaRPr lang="en-US" sz="1800" dirty="0"/>
          </a:p>
        </p:txBody>
      </p:sp>
      <p:sp>
        <p:nvSpPr>
          <p:cNvPr id="28" name="TextBox 27"/>
          <p:cNvSpPr txBox="1"/>
          <p:nvPr/>
        </p:nvSpPr>
        <p:spPr>
          <a:xfrm>
            <a:off x="642204" y="1053351"/>
            <a:ext cx="46003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Alternative Procurement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Methods Discussion Topics</a:t>
            </a:r>
            <a:endParaRPr lang="en-US" sz="2000" dirty="0">
              <a:solidFill>
                <a:schemeClr val="bg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l="3793" r="5103"/>
          <a:stretch/>
        </p:blipFill>
        <p:spPr>
          <a:xfrm>
            <a:off x="6760252" y="2819811"/>
            <a:ext cx="4212839" cy="1758494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580672" y="1774636"/>
            <a:ext cx="4572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/>
              <a:t>Procuring the right products and services at right pric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794301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855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674168" y="2677443"/>
            <a:ext cx="4380613" cy="31771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466659" y="2721586"/>
            <a:ext cx="4174709" cy="3177193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Trends in Public Procurement Professionals</a:t>
            </a:r>
            <a:endParaRPr lang="en-US" i="1" dirty="0" smtClean="0">
              <a:solidFill>
                <a:prstClr val="white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84983" y="1380696"/>
            <a:ext cx="506178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More than half </a:t>
            </a:r>
            <a:r>
              <a:rPr lang="en-US" dirty="0" smtClean="0"/>
              <a:t>of respondents </a:t>
            </a:r>
            <a:r>
              <a:rPr lang="en-US" dirty="0"/>
              <a:t>indicate that they are failing to attract enough interest among vendors and contractors to their competitive </a:t>
            </a:r>
            <a:r>
              <a:rPr lang="en-US" dirty="0" smtClean="0"/>
              <a:t>solicitations…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48501" y="6293377"/>
            <a:ext cx="1106739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 smtClean="0">
                <a:latin typeface="Roboto"/>
              </a:rPr>
              <a:t>Data Source: Survey-of-Government-Procurement-Professionals-2018-GovWin-Deltek</a:t>
            </a:r>
          </a:p>
          <a:p>
            <a:r>
              <a:rPr lang="en-US" sz="1050" dirty="0">
                <a:hlinkClick r:id="rId7"/>
              </a:rPr>
              <a:t>http://images.more.deltek.com/Web/DeltekInc/%</a:t>
            </a:r>
            <a:r>
              <a:rPr lang="en-US" sz="1050" dirty="0" smtClean="0">
                <a:hlinkClick r:id="rId7"/>
              </a:rPr>
              <a:t>7B99f494a0-c09d-4fb4-8b97-e1da9a5fe78f%7D_Survey-of-Government-Procurement-Professionals-2018-GovWin-Deltek.pdf</a:t>
            </a:r>
            <a:endParaRPr lang="en-US" sz="1050" dirty="0" smtClean="0"/>
          </a:p>
          <a:p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/>
          <a:srcRect t="1475" b="1508"/>
          <a:stretch/>
        </p:blipFill>
        <p:spPr>
          <a:xfrm>
            <a:off x="997992" y="2852882"/>
            <a:ext cx="3283924" cy="300175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/>
          <a:srcRect t="720" r="5241" b="2692"/>
          <a:stretch/>
        </p:blipFill>
        <p:spPr>
          <a:xfrm>
            <a:off x="6705698" y="2982834"/>
            <a:ext cx="4272815" cy="2339604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6438193" y="1380696"/>
            <a:ext cx="49776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pending relating to single-buyer, competitive bids &amp; RFPs is </a:t>
            </a:r>
            <a:r>
              <a:rPr lang="en-US" dirty="0" smtClean="0"/>
              <a:t>decreasing as </a:t>
            </a:r>
            <a:r>
              <a:rPr lang="en-US" dirty="0"/>
              <a:t>agencies focus on more efficient procurement </a:t>
            </a:r>
            <a:r>
              <a:rPr lang="en-US" dirty="0" smtClean="0"/>
              <a:t>methods…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326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9662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174323"/>
            <a:ext cx="95399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prstClr val="white"/>
                </a:solidFill>
              </a:rPr>
              <a:t/>
            </a:r>
            <a:br>
              <a:rPr lang="en-US" b="1" dirty="0">
                <a:solidFill>
                  <a:prstClr val="white"/>
                </a:solidFill>
              </a:rPr>
            </a:br>
            <a:r>
              <a:rPr lang="en-US" b="1" dirty="0">
                <a:solidFill>
                  <a:prstClr val="white"/>
                </a:solidFill>
              </a:rPr>
              <a:t>Cooperative Contract Usage is on the </a:t>
            </a:r>
            <a:r>
              <a:rPr lang="en-US" b="1" dirty="0" smtClean="0">
                <a:solidFill>
                  <a:prstClr val="white"/>
                </a:solidFill>
              </a:rPr>
              <a:t>Rise</a:t>
            </a:r>
            <a:endParaRPr lang="en-US" b="1" dirty="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48501" y="6293377"/>
            <a:ext cx="11067391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 smtClean="0">
                <a:latin typeface="Roboto"/>
              </a:rPr>
              <a:t>Data Source: </a:t>
            </a:r>
            <a:r>
              <a:rPr lang="en-US" sz="1050" dirty="0" err="1" smtClean="0">
                <a:latin typeface="Roboto"/>
              </a:rPr>
              <a:t>Onvia</a:t>
            </a:r>
            <a:r>
              <a:rPr lang="en-US" sz="1050" dirty="0" smtClean="0">
                <a:latin typeface="Roboto"/>
              </a:rPr>
              <a:t> Survey-of-Government-Procurement-Professionals-2017</a:t>
            </a:r>
          </a:p>
        </p:txBody>
      </p:sp>
      <p:sp>
        <p:nvSpPr>
          <p:cNvPr id="17" name="Rectangle 16"/>
          <p:cNvSpPr/>
          <p:nvPr/>
        </p:nvSpPr>
        <p:spPr>
          <a:xfrm>
            <a:off x="1992314" y="1641476"/>
            <a:ext cx="8207375" cy="284223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>
            <a:spLocks/>
          </p:cNvSpPr>
          <p:nvPr/>
        </p:nvSpPr>
        <p:spPr>
          <a:xfrm>
            <a:off x="2164862" y="2411413"/>
            <a:ext cx="3622368" cy="104616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 algn="ctr" fontAlgn="base">
              <a:buClr>
                <a:prstClr val="black"/>
              </a:buClr>
              <a:buNone/>
            </a:pPr>
            <a:r>
              <a:rPr lang="en-US" sz="3200" dirty="0">
                <a:solidFill>
                  <a:srgbClr val="00549E"/>
                </a:solidFill>
              </a:rPr>
              <a:t>81% </a:t>
            </a:r>
            <a:r>
              <a:rPr lang="en-US" dirty="0">
                <a:solidFill>
                  <a:prstClr val="black"/>
                </a:solidFill>
              </a:rPr>
              <a:t>of </a:t>
            </a:r>
            <a:r>
              <a:rPr lang="en-US" dirty="0" smtClean="0">
                <a:solidFill>
                  <a:prstClr val="black"/>
                </a:solidFill>
              </a:rPr>
              <a:t>public </a:t>
            </a:r>
            <a:r>
              <a:rPr lang="en-US" dirty="0">
                <a:solidFill>
                  <a:prstClr val="black"/>
                </a:solidFill>
              </a:rPr>
              <a:t>procurement professionals utilized a cooperative contract in </a:t>
            </a:r>
            <a:r>
              <a:rPr lang="en-US" dirty="0" smtClean="0">
                <a:solidFill>
                  <a:prstClr val="black"/>
                </a:solidFill>
              </a:rPr>
              <a:t>the last year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1992314" y="1605690"/>
            <a:ext cx="8207375" cy="4876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r>
              <a:rPr lang="en-US" sz="1600" dirty="0" smtClean="0"/>
              <a:t>The study states, “Increased use of cooperative contracting is saving the time to conduct research, issue bid documents, and perform a lengthy evaluation process”  </a:t>
            </a:r>
            <a:endParaRPr lang="en-US" sz="1600" dirty="0"/>
          </a:p>
        </p:txBody>
      </p:sp>
      <p:graphicFrame>
        <p:nvGraphicFramePr>
          <p:cNvPr id="105" name="Chart 104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06994849"/>
              </p:ext>
            </p:extLst>
          </p:nvPr>
        </p:nvGraphicFramePr>
        <p:xfrm>
          <a:off x="6470650" y="2195513"/>
          <a:ext cx="3217863" cy="2090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4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6578600" y="2012950"/>
            <a:ext cx="32845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E81988-C271-4A17-BCD9-E817EF39654B}" type="datetime'% ''of T''otal Contract ''Sp''end U''sing'' ''Cooper''atives'">
              <a:rPr lang="en-US" altLang="en-US" sz="1400" smtClean="0"/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% of Total Contract Spend Using Cooperatives</a:t>
            </a:fld>
            <a:endParaRPr lang="en-US" sz="1400" dirty="0">
              <a:sym typeface="+mn-lt"/>
            </a:endParaRPr>
          </a:p>
        </p:txBody>
      </p:sp>
      <p:sp>
        <p:nvSpPr>
          <p:cNvPr id="49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218238" y="2341563"/>
            <a:ext cx="2174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B5EA871-59E0-4D48-98A3-9CD84268A0F5}" type="datetime'''''''''''''''''''''0''''''''''''''''''''''''''%''''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%</a:t>
            </a:fld>
            <a:endParaRPr lang="en-US" sz="1400" dirty="0">
              <a:sym typeface="+mn-lt"/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073775" y="2662238"/>
            <a:ext cx="3619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6F70AB0-42BE-4A22-A05F-92C9BA1C8694}" type="datetime'''1''''''''''''''''''''''''''''''''''''''-''''''9''%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-9%</a:t>
            </a:fld>
            <a:endParaRPr lang="en-US" sz="1400" dirty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892800" y="2984500"/>
            <a:ext cx="542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262CF6BA-7AB5-4903-839F-C78984969A8F}" type="datetime'''''''''''''''''''''''''1''''0-''1''''''''''''''''''''9''''%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-19%</a:t>
            </a:fld>
            <a:endParaRPr lang="en-US" sz="1400" dirty="0">
              <a:sym typeface="+mn-lt"/>
            </a:endParaRPr>
          </a:p>
        </p:txBody>
      </p:sp>
      <p:sp>
        <p:nvSpPr>
          <p:cNvPr id="7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892800" y="3305175"/>
            <a:ext cx="542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3A2E4E9-3389-42ED-B77E-80316217575E}" type="datetime'''''''''2''''''''0''''-''''4''''''''''''''''9''''''%''''''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-49%</a:t>
            </a:fld>
            <a:endParaRPr lang="en-US" sz="1400" dirty="0">
              <a:sym typeface="+mn-lt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892800" y="3625850"/>
            <a:ext cx="5429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8D84F5-0045-472E-87F8-F115FF432F00}" type="datetime'''''''''''''''''''''''5''''''''''''''''''0''''''-74%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-74%</a:t>
            </a:fld>
            <a:endParaRPr lang="en-US" sz="1400" dirty="0">
              <a:sym typeface="+mn-lt"/>
            </a:endParaRPr>
          </a:p>
        </p:txBody>
      </p:sp>
      <p:sp>
        <p:nvSpPr>
          <p:cNvPr id="74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38850" y="3946525"/>
            <a:ext cx="39687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494A6D1-8917-47BE-96DD-B97C77B9CB42}" type="datetime'''''''''''''''''7''''''5''''''''%''''''''''''''+'''">
              <a:rPr lang="en-US" altLang="en-US" sz="1400" smtClean="0"/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5%+</a:t>
            </a:fld>
            <a:endParaRPr lang="en-US" sz="14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5782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855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Todays Objectives</a:t>
            </a:r>
            <a:endParaRPr lang="en-US" i="1" dirty="0" smtClean="0">
              <a:solidFill>
                <a:prstClr val="white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480009" y="1291472"/>
            <a:ext cx="9227423" cy="4570064"/>
          </a:xfrm>
          <a:prstGeom prst="rect">
            <a:avLst/>
          </a:prstGeom>
          <a:solidFill>
            <a:schemeClr val="bg1"/>
          </a:solidFill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523999" y="4185136"/>
            <a:ext cx="9155152" cy="1676400"/>
          </a:xfrm>
          <a:prstGeom prst="rect">
            <a:avLst/>
          </a:prstGeom>
          <a:blipFill>
            <a:blip r:embed="rId7"/>
            <a:tile tx="0" ty="0" sx="100000" sy="100000" flip="none" algn="tl"/>
          </a:blipFill>
          <a:ln>
            <a:noFill/>
          </a:ln>
          <a:effectLst>
            <a:outerShdw blurRad="38100" dist="12700" dir="5400000" algn="t" rotWithShape="0">
              <a:prstClr val="black">
                <a:alpha val="1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6" name="Picture 10" descr="http://takelessons.com/images/public/subHeadB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2282325" y="3296880"/>
            <a:ext cx="3809999" cy="86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0" descr="http://takelessons.com/images/public/subHeadBg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5524189" y="3296882"/>
            <a:ext cx="3809999" cy="86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Rectangle 22"/>
          <p:cNvSpPr/>
          <p:nvPr/>
        </p:nvSpPr>
        <p:spPr>
          <a:xfrm>
            <a:off x="1546624" y="4410072"/>
            <a:ext cx="308814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dirty="0">
                <a:solidFill>
                  <a:schemeClr val="tx2"/>
                </a:solidFill>
              </a:rPr>
              <a:t>Provide an introduction to the benefits &amp; value of using cooperative </a:t>
            </a:r>
            <a:r>
              <a:rPr lang="en-US" dirty="0" smtClean="0">
                <a:solidFill>
                  <a:schemeClr val="tx2"/>
                </a:solidFill>
              </a:rPr>
              <a:t>procurement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7860245" y="4410072"/>
            <a:ext cx="280775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dirty="0">
                <a:solidFill>
                  <a:schemeClr val="tx2"/>
                </a:solidFill>
              </a:rPr>
              <a:t> Discuss strategies </a:t>
            </a:r>
            <a:r>
              <a:rPr lang="en-US" dirty="0" smtClean="0">
                <a:solidFill>
                  <a:schemeClr val="tx2"/>
                </a:solidFill>
              </a:rPr>
              <a:t>to introduce alternative procurement methods</a:t>
            </a:r>
            <a:endParaRPr lang="en-US" dirty="0">
              <a:solidFill>
                <a:schemeClr val="tx2"/>
              </a:solidFill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8484" y="2148955"/>
            <a:ext cx="2144468" cy="1909100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10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35853">
            <a:off x="8060186" y="1978953"/>
            <a:ext cx="2258568" cy="2086521"/>
          </a:xfrm>
          <a:prstGeom prst="rect">
            <a:avLst/>
          </a:prstGeom>
        </p:spPr>
      </p:pic>
      <p:grpSp>
        <p:nvGrpSpPr>
          <p:cNvPr id="27" name="Group 26"/>
          <p:cNvGrpSpPr/>
          <p:nvPr/>
        </p:nvGrpSpPr>
        <p:grpSpPr>
          <a:xfrm>
            <a:off x="2007518" y="2306887"/>
            <a:ext cx="2069574" cy="1655659"/>
            <a:chOff x="2503170" y="1838124"/>
            <a:chExt cx="1851658" cy="1481326"/>
          </a:xfrm>
        </p:grpSpPr>
        <p:pic>
          <p:nvPicPr>
            <p:cNvPr id="28" name="Picture 2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03170" y="1838124"/>
              <a:ext cx="1851658" cy="1481326"/>
            </a:xfrm>
            <a:prstGeom prst="rect">
              <a:avLst/>
            </a:prstGeom>
          </p:spPr>
        </p:pic>
        <p:sp>
          <p:nvSpPr>
            <p:cNvPr id="29" name="TextBox 28"/>
            <p:cNvSpPr txBox="1"/>
            <p:nvPr/>
          </p:nvSpPr>
          <p:spPr>
            <a:xfrm rot="19636593">
              <a:off x="3108960" y="2363070"/>
              <a:ext cx="318696" cy="330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>
                  <a:solidFill>
                    <a:schemeClr val="tx2">
                      <a:lumMod val="75000"/>
                      <a:lumOff val="2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$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8170423" y="2194937"/>
            <a:ext cx="2069573" cy="1655659"/>
            <a:chOff x="4789171" y="1838124"/>
            <a:chExt cx="1851657" cy="1481326"/>
          </a:xfrm>
        </p:grpSpPr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1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89171" y="1838124"/>
              <a:ext cx="1851657" cy="1481326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13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92974" y="2130674"/>
              <a:ext cx="844051" cy="844051"/>
            </a:xfrm>
            <a:prstGeom prst="rect">
              <a:avLst/>
            </a:prstGeom>
          </p:spPr>
        </p:pic>
      </p:grpSp>
      <p:sp>
        <p:nvSpPr>
          <p:cNvPr id="37" name="Rectangle 36"/>
          <p:cNvSpPr/>
          <p:nvPr/>
        </p:nvSpPr>
        <p:spPr>
          <a:xfrm>
            <a:off x="4600557" y="4410072"/>
            <a:ext cx="32375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chemeClr val="tx2"/>
              </a:buClr>
            </a:pPr>
            <a:r>
              <a:rPr lang="en-US" dirty="0" smtClean="0">
                <a:solidFill>
                  <a:schemeClr val="tx2"/>
                </a:solidFill>
              </a:rPr>
              <a:t>Understand how cooperatives agreements meet competitive procurement requirements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1523999" y="1412529"/>
            <a:ext cx="9144001" cy="79216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Cooperative Purchasing Contracts Overview</a:t>
            </a:r>
            <a:endParaRPr lang="en-US" sz="160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931510" y="1988565"/>
            <a:ext cx="2449491" cy="2285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232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855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Cooperative Procurement Benefits</a:t>
            </a:r>
            <a:endParaRPr lang="en-US" i="1" dirty="0" smtClean="0">
              <a:solidFill>
                <a:prstClr val="white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24421" y="1329738"/>
            <a:ext cx="5055595" cy="4798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buClr>
                <a:srgbClr val="878785"/>
              </a:buClr>
            </a:pPr>
            <a:r>
              <a:rPr lang="en-US" sz="2000" b="1" kern="0" dirty="0" smtClean="0">
                <a:solidFill>
                  <a:srgbClr val="08338F"/>
                </a:solidFill>
                <a:latin typeface="Arial"/>
              </a:rPr>
              <a:t>Cooperative Member 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Reduced procurement hurdles / contract has already been bid – Not having to go to bid again can save time and reduce cost within the procurement process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National </a:t>
            </a:r>
            <a:r>
              <a:rPr lang="en-US" sz="1600" kern="0" dirty="0">
                <a:solidFill>
                  <a:srgbClr val="002060"/>
                </a:solidFill>
                <a:latin typeface="Arial"/>
              </a:rPr>
              <a:t>scale bid provides pricing member may not be able to achieve on their </a:t>
            </a: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own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Pricing transparency</a:t>
            </a: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 </a:t>
            </a:r>
            <a:endParaRPr lang="en-US" sz="1600" kern="0" dirty="0">
              <a:solidFill>
                <a:srgbClr val="002060"/>
              </a:solidFill>
              <a:latin typeface="Arial"/>
            </a:endParaRP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rgbClr val="002060"/>
                </a:solidFill>
                <a:latin typeface="Arial"/>
              </a:rPr>
              <a:t>Avoids potential for low bid, low quality contracts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rgbClr val="002060"/>
                </a:solidFill>
                <a:latin typeface="Arial"/>
              </a:rPr>
              <a:t>Select the vendor they want to buy from &amp; the rep they want to work with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rgbClr val="002060"/>
                </a:solidFill>
                <a:latin typeface="Arial"/>
              </a:rPr>
              <a:t>Confidence in the quality and delivery of supplier products and services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rgbClr val="002060"/>
                </a:solidFill>
                <a:latin typeface="Arial"/>
              </a:rPr>
              <a:t>Membership is free and registration is simplistic</a:t>
            </a:r>
          </a:p>
        </p:txBody>
      </p:sp>
      <p:sp>
        <p:nvSpPr>
          <p:cNvPr id="40" name="Rectangle 39"/>
          <p:cNvSpPr/>
          <p:nvPr/>
        </p:nvSpPr>
        <p:spPr>
          <a:xfrm>
            <a:off x="6868470" y="1329738"/>
            <a:ext cx="4474688" cy="3806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buClr>
                <a:srgbClr val="878785"/>
              </a:buClr>
            </a:pPr>
            <a:r>
              <a:rPr lang="en-US" sz="2000" b="1" kern="0" dirty="0" smtClean="0">
                <a:solidFill>
                  <a:srgbClr val="08338F"/>
                </a:solidFill>
                <a:latin typeface="Arial"/>
              </a:rPr>
              <a:t>Suppliers</a:t>
            </a:r>
            <a:endParaRPr lang="en-US" sz="2000" b="1" kern="0" dirty="0">
              <a:solidFill>
                <a:srgbClr val="08338F"/>
              </a:solidFill>
              <a:latin typeface="Arial"/>
            </a:endParaRP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4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Reduces </a:t>
            </a:r>
            <a:r>
              <a:rPr lang="en-US" sz="1600" kern="0" dirty="0">
                <a:solidFill>
                  <a:srgbClr val="002060"/>
                </a:solidFill>
                <a:latin typeface="Arial"/>
              </a:rPr>
              <a:t>time and effort spent on bid activity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4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rgbClr val="002060"/>
                </a:solidFill>
                <a:latin typeface="Arial"/>
              </a:rPr>
              <a:t>Reduces sales cycle due </a:t>
            </a: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to consistent </a:t>
            </a: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and efficient procurement processes</a:t>
            </a:r>
            <a:endParaRPr lang="en-US" sz="1600" kern="0" dirty="0">
              <a:solidFill>
                <a:srgbClr val="002060"/>
              </a:solidFill>
              <a:latin typeface="Arial"/>
            </a:endParaRP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4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Stronger customer satisfaction due to focus on both </a:t>
            </a:r>
            <a:r>
              <a:rPr lang="en-US" sz="1600" kern="0" dirty="0">
                <a:solidFill>
                  <a:srgbClr val="002060"/>
                </a:solidFill>
                <a:latin typeface="Arial"/>
              </a:rPr>
              <a:t>value and quality </a:t>
            </a:r>
            <a:r>
              <a:rPr lang="en-US" sz="1600" kern="0" dirty="0" smtClean="0">
                <a:solidFill>
                  <a:srgbClr val="002060"/>
                </a:solidFill>
                <a:latin typeface="Arial"/>
              </a:rPr>
              <a:t>vs. simply providing the cheapest solution that meets the specifications</a:t>
            </a: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4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r>
              <a:rPr lang="en-US" sz="1600" kern="0" dirty="0">
                <a:solidFill>
                  <a:srgbClr val="002060"/>
                </a:solidFill>
                <a:latin typeface="Arial"/>
              </a:rPr>
              <a:t>Shared savings model - reduced sales costs allow deeper pricing discounts</a:t>
            </a:r>
            <a:endParaRPr lang="en-US" sz="1600" kern="0" dirty="0">
              <a:solidFill>
                <a:srgbClr val="002060"/>
              </a:solidFill>
              <a:latin typeface="Arial"/>
            </a:endParaRPr>
          </a:p>
          <a:p>
            <a:pPr marL="266700" lvl="1" indent="-265113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Clr>
                <a:srgbClr val="878785"/>
              </a:buClr>
              <a:buFont typeface="Wingdings" panose="05000000000000000000" pitchFamily="2" charset="2"/>
              <a:buChar char="§"/>
            </a:pPr>
            <a:endParaRPr lang="en-US" sz="1600" kern="0" dirty="0">
              <a:solidFill>
                <a:srgbClr val="00206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1597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88558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Who </a:t>
            </a:r>
            <a:r>
              <a:rPr lang="en-US" b="1" dirty="0">
                <a:solidFill>
                  <a:prstClr val="white"/>
                </a:solidFill>
              </a:rPr>
              <a:t>Can Become a Member and Procure through State Cooperative Contracts?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313" y="2833027"/>
            <a:ext cx="1540910" cy="1371786"/>
          </a:xfrm>
          <a:prstGeom prst="rect">
            <a:avLst/>
          </a:prstGeom>
        </p:spPr>
      </p:pic>
      <p:grpSp>
        <p:nvGrpSpPr>
          <p:cNvPr id="12" name="Group 11"/>
          <p:cNvGrpSpPr/>
          <p:nvPr/>
        </p:nvGrpSpPr>
        <p:grpSpPr>
          <a:xfrm>
            <a:off x="799869" y="2933271"/>
            <a:ext cx="1487094" cy="1189676"/>
            <a:chOff x="2362199" y="1739708"/>
            <a:chExt cx="2069573" cy="1655659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62199" y="1739708"/>
              <a:ext cx="2069573" cy="1655659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5353" y="2172293"/>
              <a:ext cx="1023263" cy="787458"/>
            </a:xfrm>
            <a:prstGeom prst="rect">
              <a:avLst/>
            </a:prstGeom>
          </p:spPr>
        </p:pic>
      </p:grpSp>
      <p:pic>
        <p:nvPicPr>
          <p:cNvPr id="15" name="Picture 1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35853">
            <a:off x="730720" y="4479860"/>
            <a:ext cx="1625392" cy="1501577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95" y="4635985"/>
            <a:ext cx="1489381" cy="1191505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959" y="4936167"/>
            <a:ext cx="678913" cy="522461"/>
          </a:xfrm>
          <a:prstGeom prst="rect">
            <a:avLst/>
          </a:prstGeom>
        </p:spPr>
      </p:pic>
      <p:pic>
        <p:nvPicPr>
          <p:cNvPr id="19" name="Picture 10" descr="http://takelessons.com/images/public/subHeadBg.pn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-424439" y="3084490"/>
            <a:ext cx="4876801" cy="8621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2649705" y="1352079"/>
            <a:ext cx="6400800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>
                <a:solidFill>
                  <a:schemeClr val="tx2"/>
                </a:solidFill>
                <a:latin typeface="Futura Hv" panose="020B0702020204020204" pitchFamily="34" charset="0"/>
              </a:rPr>
              <a:t>State and Local Government Entities</a:t>
            </a:r>
          </a:p>
          <a:p>
            <a:pPr marL="182880" lvl="1" indent="-18288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600">
                <a:solidFill>
                  <a:srgbClr val="062848"/>
                </a:solidFill>
                <a:latin typeface="Futura Lt" panose="020B0402020204020303" pitchFamily="34" charset="0"/>
              </a:rPr>
              <a:t>Cities </a:t>
            </a:r>
          </a:p>
          <a:p>
            <a:pPr marL="182880" lvl="1" indent="-18288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600">
                <a:solidFill>
                  <a:srgbClr val="062848"/>
                </a:solidFill>
                <a:latin typeface="Futura Lt" panose="020B0402020204020303" pitchFamily="34" charset="0"/>
              </a:rPr>
              <a:t>Counties</a:t>
            </a:r>
          </a:p>
          <a:p>
            <a:pPr marL="182880" lvl="1" indent="-18288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600">
                <a:solidFill>
                  <a:srgbClr val="062848"/>
                </a:solidFill>
                <a:latin typeface="Futura Lt" panose="020B0402020204020303" pitchFamily="34" charset="0"/>
              </a:rPr>
              <a:t>States and State Agencie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850105" y="1706023"/>
            <a:ext cx="3498130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2870" lvl="1" indent="-18288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062848"/>
                </a:solidFill>
                <a:latin typeface="Futura Lt" panose="020B0402020204020303" pitchFamily="34" charset="0"/>
              </a:rPr>
              <a:t>Special &amp; Water Districts </a:t>
            </a:r>
          </a:p>
          <a:p>
            <a:pPr marL="102870" lvl="1" indent="-18288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062848"/>
                </a:solidFill>
                <a:latin typeface="Futura Lt" panose="020B0402020204020303" pitchFamily="34" charset="0"/>
              </a:rPr>
              <a:t>Native American Tribes</a:t>
            </a:r>
          </a:p>
          <a:p>
            <a:pPr marL="102870" lvl="1" indent="-182880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§"/>
            </a:pPr>
            <a:r>
              <a:rPr lang="en-US" sz="1600" dirty="0">
                <a:solidFill>
                  <a:srgbClr val="062848"/>
                </a:solidFill>
                <a:latin typeface="Futura Lt" panose="020B0402020204020303" pitchFamily="34" charset="0"/>
              </a:rPr>
              <a:t>Port &amp; Transportation Authorities</a:t>
            </a:r>
          </a:p>
        </p:txBody>
      </p:sp>
      <p:grpSp>
        <p:nvGrpSpPr>
          <p:cNvPr id="22" name="Group 21"/>
          <p:cNvGrpSpPr/>
          <p:nvPr/>
        </p:nvGrpSpPr>
        <p:grpSpPr>
          <a:xfrm>
            <a:off x="2649705" y="3031948"/>
            <a:ext cx="6324600" cy="1015663"/>
            <a:chOff x="1981200" y="3250946"/>
            <a:chExt cx="6324600" cy="1015663"/>
          </a:xfrm>
        </p:grpSpPr>
        <p:sp>
          <p:nvSpPr>
            <p:cNvPr id="23" name="Rectangle 22"/>
            <p:cNvSpPr/>
            <p:nvPr/>
          </p:nvSpPr>
          <p:spPr>
            <a:xfrm>
              <a:off x="1981200" y="3250946"/>
              <a:ext cx="4572000" cy="101566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r>
                <a:rPr lang="en-US">
                  <a:solidFill>
                    <a:srgbClr val="062848"/>
                  </a:solidFill>
                  <a:latin typeface="Futura Hv" panose="020B0702020204020204" pitchFamily="34" charset="0"/>
                </a:rPr>
                <a:t>Public and Private Education</a:t>
              </a:r>
            </a:p>
            <a:p>
              <a:pPr marL="18288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K-12</a:t>
              </a:r>
            </a:p>
            <a:p>
              <a:pPr marL="18288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Special Education Districts 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5181600" y="3604889"/>
              <a:ext cx="3124200" cy="6617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287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Charter Schools</a:t>
              </a:r>
            </a:p>
            <a:p>
              <a:pPr marL="10287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Higher Education/Universities 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2649705" y="4733998"/>
            <a:ext cx="6934200" cy="1015663"/>
            <a:chOff x="1981200" y="4928762"/>
            <a:chExt cx="6934200" cy="1015663"/>
          </a:xfrm>
        </p:grpSpPr>
        <p:sp>
          <p:nvSpPr>
            <p:cNvPr id="26" name="Rectangle 25"/>
            <p:cNvSpPr/>
            <p:nvPr/>
          </p:nvSpPr>
          <p:spPr>
            <a:xfrm>
              <a:off x="1981200" y="4928762"/>
              <a:ext cx="5339576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>
                  <a:solidFill>
                    <a:schemeClr val="tx2"/>
                  </a:solidFill>
                  <a:latin typeface="Futura Hv" panose="020B0702020204020204" pitchFamily="34" charset="0"/>
                </a:rPr>
                <a:t>Non Profits (tax exempt organizations)</a:t>
              </a:r>
            </a:p>
            <a:p>
              <a:pPr marL="18288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Hospitals &amp; Nursing Homes</a:t>
              </a:r>
            </a:p>
            <a:p>
              <a:pPr marL="18288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Rural Power Cooperatives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181600" y="5276088"/>
              <a:ext cx="3733800" cy="6617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0287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Housing Authorities </a:t>
              </a:r>
            </a:p>
            <a:p>
              <a:pPr marL="102870" lvl="1" indent="-182880">
                <a:spcBef>
                  <a:spcPts val="600"/>
                </a:spcBef>
                <a:buClr>
                  <a:schemeClr val="bg2"/>
                </a:buClr>
                <a:buFont typeface="Wingdings" pitchFamily="2" charset="2"/>
                <a:buChar char="§"/>
              </a:pPr>
              <a:r>
                <a:rPr lang="en-US" sz="1600">
                  <a:solidFill>
                    <a:srgbClr val="062848"/>
                  </a:solidFill>
                  <a:latin typeface="Futura Lt" panose="020B0402020204020303" pitchFamily="34" charset="0"/>
                </a:rPr>
                <a:t>Member Associations &amp; Coops </a:t>
              </a:r>
            </a:p>
          </p:txBody>
        </p:sp>
      </p:grpSp>
      <p:pic>
        <p:nvPicPr>
          <p:cNvPr id="28" name="Picture 2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515" y="1146411"/>
            <a:ext cx="1548492" cy="1378535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797956" y="1260860"/>
            <a:ext cx="1497629" cy="1198102"/>
            <a:chOff x="129450" y="1402914"/>
            <a:chExt cx="1497629" cy="1198102"/>
          </a:xfrm>
        </p:grpSpPr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9450" y="1402914"/>
              <a:ext cx="1497629" cy="1198102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1855" y="1606352"/>
              <a:ext cx="692817" cy="6899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7694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8665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  <p:sp>
        <p:nvSpPr>
          <p:cNvPr id="118" name="Rectangle 117"/>
          <p:cNvSpPr/>
          <p:nvPr/>
        </p:nvSpPr>
        <p:spPr>
          <a:xfrm>
            <a:off x="11782245" y="1908869"/>
            <a:ext cx="45719" cy="3545708"/>
          </a:xfrm>
          <a:prstGeom prst="rect">
            <a:avLst/>
          </a:prstGeom>
          <a:solidFill>
            <a:srgbClr val="00549E"/>
          </a:solidFill>
          <a:ln w="1270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2" name="Right Arrow 61"/>
          <p:cNvSpPr/>
          <p:nvPr/>
        </p:nvSpPr>
        <p:spPr>
          <a:xfrm>
            <a:off x="156930" y="1534164"/>
            <a:ext cx="11677130" cy="806892"/>
          </a:xfrm>
          <a:prstGeom prst="rightArrow">
            <a:avLst/>
          </a:prstGeom>
          <a:solidFill>
            <a:srgbClr val="00549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8820745" y="1226295"/>
            <a:ext cx="1422630" cy="1422630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rgbClr val="8DC63F">
                <a:shade val="50000"/>
              </a:srgbClr>
            </a:solidFill>
            <a:prstDash val="solid"/>
            <a:miter lim="800000"/>
          </a:ln>
          <a:effectLst>
            <a:innerShdw blurRad="114300">
              <a:prstClr val="black"/>
            </a:inn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12" name="Oval 111"/>
          <p:cNvSpPr/>
          <p:nvPr/>
        </p:nvSpPr>
        <p:spPr>
          <a:xfrm>
            <a:off x="8900617" y="1321123"/>
            <a:ext cx="1267645" cy="123297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6" name="Group 65"/>
          <p:cNvGrpSpPr/>
          <p:nvPr/>
        </p:nvGrpSpPr>
        <p:grpSpPr>
          <a:xfrm>
            <a:off x="9188664" y="1606316"/>
            <a:ext cx="686794" cy="662590"/>
            <a:chOff x="2046288" y="3632201"/>
            <a:chExt cx="360363" cy="347663"/>
          </a:xfrm>
          <a:solidFill>
            <a:srgbClr val="00549E"/>
          </a:solidFill>
        </p:grpSpPr>
        <p:sp>
          <p:nvSpPr>
            <p:cNvPr id="67" name="Freeform 14"/>
            <p:cNvSpPr>
              <a:spLocks/>
            </p:cNvSpPr>
            <p:nvPr/>
          </p:nvSpPr>
          <p:spPr bwMode="auto">
            <a:xfrm>
              <a:off x="2070101" y="3632201"/>
              <a:ext cx="90488" cy="123825"/>
            </a:xfrm>
            <a:custGeom>
              <a:avLst/>
              <a:gdLst>
                <a:gd name="T0" fmla="*/ 186 w 315"/>
                <a:gd name="T1" fmla="*/ 433 h 433"/>
                <a:gd name="T2" fmla="*/ 186 w 315"/>
                <a:gd name="T3" fmla="*/ 399 h 433"/>
                <a:gd name="T4" fmla="*/ 283 w 315"/>
                <a:gd name="T5" fmla="*/ 365 h 433"/>
                <a:gd name="T6" fmla="*/ 315 w 315"/>
                <a:gd name="T7" fmla="*/ 288 h 433"/>
                <a:gd name="T8" fmla="*/ 303 w 315"/>
                <a:gd name="T9" fmla="*/ 237 h 433"/>
                <a:gd name="T10" fmla="*/ 274 w 315"/>
                <a:gd name="T11" fmla="*/ 205 h 433"/>
                <a:gd name="T12" fmla="*/ 209 w 315"/>
                <a:gd name="T13" fmla="*/ 173 h 433"/>
                <a:gd name="T14" fmla="*/ 141 w 315"/>
                <a:gd name="T15" fmla="*/ 140 h 433"/>
                <a:gd name="T16" fmla="*/ 129 w 315"/>
                <a:gd name="T17" fmla="*/ 110 h 433"/>
                <a:gd name="T18" fmla="*/ 135 w 315"/>
                <a:gd name="T19" fmla="*/ 90 h 433"/>
                <a:gd name="T20" fmla="*/ 152 w 315"/>
                <a:gd name="T21" fmla="*/ 84 h 433"/>
                <a:gd name="T22" fmla="*/ 171 w 315"/>
                <a:gd name="T23" fmla="*/ 91 h 433"/>
                <a:gd name="T24" fmla="*/ 175 w 315"/>
                <a:gd name="T25" fmla="*/ 123 h 433"/>
                <a:gd name="T26" fmla="*/ 175 w 315"/>
                <a:gd name="T27" fmla="*/ 138 h 433"/>
                <a:gd name="T28" fmla="*/ 301 w 315"/>
                <a:gd name="T29" fmla="*/ 138 h 433"/>
                <a:gd name="T30" fmla="*/ 302 w 315"/>
                <a:gd name="T31" fmla="*/ 121 h 433"/>
                <a:gd name="T32" fmla="*/ 273 w 315"/>
                <a:gd name="T33" fmla="*/ 57 h 433"/>
                <a:gd name="T34" fmla="*/ 186 w 315"/>
                <a:gd name="T35" fmla="*/ 29 h 433"/>
                <a:gd name="T36" fmla="*/ 186 w 315"/>
                <a:gd name="T37" fmla="*/ 0 h 433"/>
                <a:gd name="T38" fmla="*/ 128 w 315"/>
                <a:gd name="T39" fmla="*/ 0 h 433"/>
                <a:gd name="T40" fmla="*/ 128 w 315"/>
                <a:gd name="T41" fmla="*/ 29 h 433"/>
                <a:gd name="T42" fmla="*/ 32 w 315"/>
                <a:gd name="T43" fmla="*/ 58 h 433"/>
                <a:gd name="T44" fmla="*/ 0 w 315"/>
                <a:gd name="T45" fmla="*/ 122 h 433"/>
                <a:gd name="T46" fmla="*/ 15 w 315"/>
                <a:gd name="T47" fmla="*/ 173 h 433"/>
                <a:gd name="T48" fmla="*/ 51 w 315"/>
                <a:gd name="T49" fmla="*/ 207 h 433"/>
                <a:gd name="T50" fmla="*/ 129 w 315"/>
                <a:gd name="T51" fmla="*/ 246 h 433"/>
                <a:gd name="T52" fmla="*/ 170 w 315"/>
                <a:gd name="T53" fmla="*/ 275 h 433"/>
                <a:gd name="T54" fmla="*/ 176 w 315"/>
                <a:gd name="T55" fmla="*/ 319 h 433"/>
                <a:gd name="T56" fmla="*/ 170 w 315"/>
                <a:gd name="T57" fmla="*/ 337 h 433"/>
                <a:gd name="T58" fmla="*/ 151 w 315"/>
                <a:gd name="T59" fmla="*/ 343 h 433"/>
                <a:gd name="T60" fmla="*/ 132 w 315"/>
                <a:gd name="T61" fmla="*/ 334 h 433"/>
                <a:gd name="T62" fmla="*/ 128 w 315"/>
                <a:gd name="T63" fmla="*/ 289 h 433"/>
                <a:gd name="T64" fmla="*/ 128 w 315"/>
                <a:gd name="T65" fmla="*/ 266 h 433"/>
                <a:gd name="T66" fmla="*/ 2 w 315"/>
                <a:gd name="T67" fmla="*/ 266 h 433"/>
                <a:gd name="T68" fmla="*/ 2 w 315"/>
                <a:gd name="T69" fmla="*/ 284 h 433"/>
                <a:gd name="T70" fmla="*/ 40 w 315"/>
                <a:gd name="T71" fmla="*/ 370 h 433"/>
                <a:gd name="T72" fmla="*/ 128 w 315"/>
                <a:gd name="T73" fmla="*/ 398 h 433"/>
                <a:gd name="T74" fmla="*/ 128 w 315"/>
                <a:gd name="T75" fmla="*/ 433 h 433"/>
                <a:gd name="T76" fmla="*/ 186 w 315"/>
                <a:gd name="T77" fmla="*/ 433 h 4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15" h="433">
                  <a:moveTo>
                    <a:pt x="186" y="433"/>
                  </a:moveTo>
                  <a:cubicBezTo>
                    <a:pt x="186" y="399"/>
                    <a:pt x="186" y="399"/>
                    <a:pt x="186" y="399"/>
                  </a:cubicBezTo>
                  <a:cubicBezTo>
                    <a:pt x="229" y="395"/>
                    <a:pt x="261" y="383"/>
                    <a:pt x="283" y="365"/>
                  </a:cubicBezTo>
                  <a:cubicBezTo>
                    <a:pt x="305" y="346"/>
                    <a:pt x="315" y="320"/>
                    <a:pt x="315" y="288"/>
                  </a:cubicBezTo>
                  <a:cubicBezTo>
                    <a:pt x="315" y="268"/>
                    <a:pt x="311" y="251"/>
                    <a:pt x="303" y="237"/>
                  </a:cubicBezTo>
                  <a:cubicBezTo>
                    <a:pt x="295" y="223"/>
                    <a:pt x="286" y="213"/>
                    <a:pt x="274" y="205"/>
                  </a:cubicBezTo>
                  <a:cubicBezTo>
                    <a:pt x="262" y="198"/>
                    <a:pt x="241" y="187"/>
                    <a:pt x="209" y="173"/>
                  </a:cubicBezTo>
                  <a:cubicBezTo>
                    <a:pt x="171" y="156"/>
                    <a:pt x="148" y="145"/>
                    <a:pt x="141" y="140"/>
                  </a:cubicBezTo>
                  <a:cubicBezTo>
                    <a:pt x="133" y="134"/>
                    <a:pt x="129" y="124"/>
                    <a:pt x="129" y="110"/>
                  </a:cubicBezTo>
                  <a:cubicBezTo>
                    <a:pt x="129" y="101"/>
                    <a:pt x="131" y="95"/>
                    <a:pt x="135" y="90"/>
                  </a:cubicBezTo>
                  <a:cubicBezTo>
                    <a:pt x="138" y="86"/>
                    <a:pt x="144" y="84"/>
                    <a:pt x="152" y="84"/>
                  </a:cubicBezTo>
                  <a:cubicBezTo>
                    <a:pt x="161" y="84"/>
                    <a:pt x="168" y="86"/>
                    <a:pt x="171" y="91"/>
                  </a:cubicBezTo>
                  <a:cubicBezTo>
                    <a:pt x="173" y="96"/>
                    <a:pt x="175" y="107"/>
                    <a:pt x="175" y="123"/>
                  </a:cubicBezTo>
                  <a:cubicBezTo>
                    <a:pt x="175" y="138"/>
                    <a:pt x="175" y="138"/>
                    <a:pt x="175" y="138"/>
                  </a:cubicBezTo>
                  <a:cubicBezTo>
                    <a:pt x="301" y="138"/>
                    <a:pt x="301" y="138"/>
                    <a:pt x="301" y="138"/>
                  </a:cubicBezTo>
                  <a:cubicBezTo>
                    <a:pt x="302" y="130"/>
                    <a:pt x="302" y="125"/>
                    <a:pt x="302" y="121"/>
                  </a:cubicBezTo>
                  <a:cubicBezTo>
                    <a:pt x="302" y="94"/>
                    <a:pt x="292" y="73"/>
                    <a:pt x="273" y="57"/>
                  </a:cubicBezTo>
                  <a:cubicBezTo>
                    <a:pt x="254" y="42"/>
                    <a:pt x="225" y="33"/>
                    <a:pt x="186" y="29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28" y="29"/>
                    <a:pt x="128" y="29"/>
                    <a:pt x="128" y="29"/>
                  </a:cubicBezTo>
                  <a:cubicBezTo>
                    <a:pt x="85" y="33"/>
                    <a:pt x="53" y="42"/>
                    <a:pt x="32" y="58"/>
                  </a:cubicBezTo>
                  <a:cubicBezTo>
                    <a:pt x="11" y="73"/>
                    <a:pt x="0" y="95"/>
                    <a:pt x="0" y="122"/>
                  </a:cubicBezTo>
                  <a:cubicBezTo>
                    <a:pt x="0" y="141"/>
                    <a:pt x="5" y="158"/>
                    <a:pt x="15" y="173"/>
                  </a:cubicBezTo>
                  <a:cubicBezTo>
                    <a:pt x="25" y="188"/>
                    <a:pt x="37" y="199"/>
                    <a:pt x="51" y="207"/>
                  </a:cubicBezTo>
                  <a:cubicBezTo>
                    <a:pt x="65" y="216"/>
                    <a:pt x="91" y="228"/>
                    <a:pt x="129" y="246"/>
                  </a:cubicBezTo>
                  <a:cubicBezTo>
                    <a:pt x="152" y="256"/>
                    <a:pt x="166" y="266"/>
                    <a:pt x="170" y="275"/>
                  </a:cubicBezTo>
                  <a:cubicBezTo>
                    <a:pt x="174" y="283"/>
                    <a:pt x="176" y="298"/>
                    <a:pt x="176" y="319"/>
                  </a:cubicBezTo>
                  <a:cubicBezTo>
                    <a:pt x="176" y="327"/>
                    <a:pt x="174" y="333"/>
                    <a:pt x="170" y="337"/>
                  </a:cubicBezTo>
                  <a:cubicBezTo>
                    <a:pt x="165" y="341"/>
                    <a:pt x="159" y="343"/>
                    <a:pt x="151" y="343"/>
                  </a:cubicBezTo>
                  <a:cubicBezTo>
                    <a:pt x="141" y="343"/>
                    <a:pt x="134" y="340"/>
                    <a:pt x="132" y="334"/>
                  </a:cubicBezTo>
                  <a:cubicBezTo>
                    <a:pt x="129" y="328"/>
                    <a:pt x="128" y="313"/>
                    <a:pt x="128" y="289"/>
                  </a:cubicBezTo>
                  <a:cubicBezTo>
                    <a:pt x="128" y="266"/>
                    <a:pt x="128" y="266"/>
                    <a:pt x="128" y="266"/>
                  </a:cubicBezTo>
                  <a:cubicBezTo>
                    <a:pt x="2" y="266"/>
                    <a:pt x="2" y="266"/>
                    <a:pt x="2" y="266"/>
                  </a:cubicBezTo>
                  <a:cubicBezTo>
                    <a:pt x="2" y="284"/>
                    <a:pt x="2" y="284"/>
                    <a:pt x="2" y="284"/>
                  </a:cubicBezTo>
                  <a:cubicBezTo>
                    <a:pt x="2" y="325"/>
                    <a:pt x="15" y="353"/>
                    <a:pt x="40" y="370"/>
                  </a:cubicBezTo>
                  <a:cubicBezTo>
                    <a:pt x="65" y="386"/>
                    <a:pt x="94" y="395"/>
                    <a:pt x="128" y="398"/>
                  </a:cubicBezTo>
                  <a:cubicBezTo>
                    <a:pt x="128" y="433"/>
                    <a:pt x="128" y="433"/>
                    <a:pt x="128" y="433"/>
                  </a:cubicBezTo>
                  <a:lnTo>
                    <a:pt x="186" y="4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kern="0" smtClean="0">
                <a:solidFill>
                  <a:prstClr val="black"/>
                </a:solidFill>
                <a:latin typeface="Arial"/>
                <a:cs typeface="Arial" panose="020B0604020202020204" pitchFamily="34" charset="0"/>
              </a:endParaRPr>
            </a:p>
          </p:txBody>
        </p:sp>
        <p:grpSp>
          <p:nvGrpSpPr>
            <p:cNvPr id="68" name="Group 67"/>
            <p:cNvGrpSpPr/>
            <p:nvPr/>
          </p:nvGrpSpPr>
          <p:grpSpPr>
            <a:xfrm>
              <a:off x="2046288" y="3646488"/>
              <a:ext cx="360363" cy="333376"/>
              <a:chOff x="2046288" y="3646488"/>
              <a:chExt cx="360363" cy="333376"/>
            </a:xfrm>
            <a:grpFill/>
          </p:grpSpPr>
          <p:sp>
            <p:nvSpPr>
              <p:cNvPr id="69" name="Freeform 15"/>
              <p:cNvSpPr>
                <a:spLocks/>
              </p:cNvSpPr>
              <p:nvPr/>
            </p:nvSpPr>
            <p:spPr bwMode="auto">
              <a:xfrm>
                <a:off x="2051051" y="3879851"/>
                <a:ext cx="63500" cy="100013"/>
              </a:xfrm>
              <a:custGeom>
                <a:avLst/>
                <a:gdLst>
                  <a:gd name="T0" fmla="*/ 0 w 226"/>
                  <a:gd name="T1" fmla="*/ 106 h 348"/>
                  <a:gd name="T2" fmla="*/ 0 w 226"/>
                  <a:gd name="T3" fmla="*/ 316 h 348"/>
                  <a:gd name="T4" fmla="*/ 40 w 226"/>
                  <a:gd name="T5" fmla="*/ 348 h 348"/>
                  <a:gd name="T6" fmla="*/ 187 w 226"/>
                  <a:gd name="T7" fmla="*/ 348 h 348"/>
                  <a:gd name="T8" fmla="*/ 226 w 226"/>
                  <a:gd name="T9" fmla="*/ 316 h 348"/>
                  <a:gd name="T10" fmla="*/ 226 w 226"/>
                  <a:gd name="T11" fmla="*/ 0 h 348"/>
                  <a:gd name="T12" fmla="*/ 137 w 226"/>
                  <a:gd name="T13" fmla="*/ 89 h 348"/>
                  <a:gd name="T14" fmla="*/ 58 w 226"/>
                  <a:gd name="T15" fmla="*/ 122 h 348"/>
                  <a:gd name="T16" fmla="*/ 0 w 226"/>
                  <a:gd name="T17" fmla="*/ 106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348">
                    <a:moveTo>
                      <a:pt x="0" y="106"/>
                    </a:moveTo>
                    <a:cubicBezTo>
                      <a:pt x="0" y="316"/>
                      <a:pt x="0" y="316"/>
                      <a:pt x="0" y="316"/>
                    </a:cubicBezTo>
                    <a:cubicBezTo>
                      <a:pt x="0" y="334"/>
                      <a:pt x="18" y="348"/>
                      <a:pt x="40" y="348"/>
                    </a:cubicBezTo>
                    <a:cubicBezTo>
                      <a:pt x="187" y="348"/>
                      <a:pt x="187" y="348"/>
                      <a:pt x="187" y="348"/>
                    </a:cubicBezTo>
                    <a:cubicBezTo>
                      <a:pt x="208" y="348"/>
                      <a:pt x="226" y="334"/>
                      <a:pt x="226" y="316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137" y="89"/>
                      <a:pt x="137" y="89"/>
                      <a:pt x="137" y="89"/>
                    </a:cubicBezTo>
                    <a:cubicBezTo>
                      <a:pt x="116" y="110"/>
                      <a:pt x="88" y="122"/>
                      <a:pt x="58" y="122"/>
                    </a:cubicBezTo>
                    <a:cubicBezTo>
                      <a:pt x="37" y="122"/>
                      <a:pt x="18" y="116"/>
                      <a:pt x="0" y="10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mtClean="0">
                  <a:solidFill>
                    <a:prstClr val="black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70" name="Freeform 16"/>
              <p:cNvSpPr>
                <a:spLocks/>
              </p:cNvSpPr>
              <p:nvPr/>
            </p:nvSpPr>
            <p:spPr bwMode="auto">
              <a:xfrm>
                <a:off x="2147888" y="3798888"/>
                <a:ext cx="63500" cy="180975"/>
              </a:xfrm>
              <a:custGeom>
                <a:avLst/>
                <a:gdLst>
                  <a:gd name="T0" fmla="*/ 0 w 226"/>
                  <a:gd name="T1" fmla="*/ 168 h 628"/>
                  <a:gd name="T2" fmla="*/ 0 w 226"/>
                  <a:gd name="T3" fmla="*/ 576 h 628"/>
                  <a:gd name="T4" fmla="*/ 40 w 226"/>
                  <a:gd name="T5" fmla="*/ 628 h 628"/>
                  <a:gd name="T6" fmla="*/ 187 w 226"/>
                  <a:gd name="T7" fmla="*/ 628 h 628"/>
                  <a:gd name="T8" fmla="*/ 226 w 226"/>
                  <a:gd name="T9" fmla="*/ 576 h 628"/>
                  <a:gd name="T10" fmla="*/ 226 w 226"/>
                  <a:gd name="T11" fmla="*/ 57 h 628"/>
                  <a:gd name="T12" fmla="*/ 169 w 226"/>
                  <a:gd name="T13" fmla="*/ 0 h 628"/>
                  <a:gd name="T14" fmla="*/ 0 w 226"/>
                  <a:gd name="T15" fmla="*/ 168 h 6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26" h="628">
                    <a:moveTo>
                      <a:pt x="0" y="168"/>
                    </a:moveTo>
                    <a:cubicBezTo>
                      <a:pt x="0" y="576"/>
                      <a:pt x="0" y="576"/>
                      <a:pt x="0" y="576"/>
                    </a:cubicBezTo>
                    <a:cubicBezTo>
                      <a:pt x="0" y="605"/>
                      <a:pt x="18" y="628"/>
                      <a:pt x="40" y="628"/>
                    </a:cubicBezTo>
                    <a:cubicBezTo>
                      <a:pt x="187" y="628"/>
                      <a:pt x="187" y="628"/>
                      <a:pt x="187" y="628"/>
                    </a:cubicBezTo>
                    <a:cubicBezTo>
                      <a:pt x="208" y="628"/>
                      <a:pt x="226" y="605"/>
                      <a:pt x="226" y="576"/>
                    </a:cubicBezTo>
                    <a:cubicBezTo>
                      <a:pt x="226" y="57"/>
                      <a:pt x="226" y="57"/>
                      <a:pt x="226" y="57"/>
                    </a:cubicBezTo>
                    <a:cubicBezTo>
                      <a:pt x="169" y="0"/>
                      <a:pt x="169" y="0"/>
                      <a:pt x="169" y="0"/>
                    </a:cubicBezTo>
                    <a:lnTo>
                      <a:pt x="0" y="16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mtClean="0">
                  <a:solidFill>
                    <a:prstClr val="black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17"/>
              <p:cNvSpPr>
                <a:spLocks/>
              </p:cNvSpPr>
              <p:nvPr/>
            </p:nvSpPr>
            <p:spPr bwMode="auto">
              <a:xfrm>
                <a:off x="2244726" y="3790951"/>
                <a:ext cx="63500" cy="188913"/>
              </a:xfrm>
              <a:custGeom>
                <a:avLst/>
                <a:gdLst>
                  <a:gd name="T0" fmla="*/ 0 w 226"/>
                  <a:gd name="T1" fmla="*/ 164 h 656"/>
                  <a:gd name="T2" fmla="*/ 0 w 226"/>
                  <a:gd name="T3" fmla="*/ 619 h 656"/>
                  <a:gd name="T4" fmla="*/ 40 w 226"/>
                  <a:gd name="T5" fmla="*/ 656 h 656"/>
                  <a:gd name="T6" fmla="*/ 186 w 226"/>
                  <a:gd name="T7" fmla="*/ 656 h 656"/>
                  <a:gd name="T8" fmla="*/ 226 w 226"/>
                  <a:gd name="T9" fmla="*/ 619 h 656"/>
                  <a:gd name="T10" fmla="*/ 226 w 226"/>
                  <a:gd name="T11" fmla="*/ 0 h 656"/>
                  <a:gd name="T12" fmla="*/ 94 w 226"/>
                  <a:gd name="T13" fmla="*/ 132 h 656"/>
                  <a:gd name="T14" fmla="*/ 15 w 226"/>
                  <a:gd name="T15" fmla="*/ 165 h 656"/>
                  <a:gd name="T16" fmla="*/ 0 w 226"/>
                  <a:gd name="T17" fmla="*/ 164 h 6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656">
                    <a:moveTo>
                      <a:pt x="0" y="164"/>
                    </a:moveTo>
                    <a:cubicBezTo>
                      <a:pt x="0" y="619"/>
                      <a:pt x="0" y="619"/>
                      <a:pt x="0" y="619"/>
                    </a:cubicBezTo>
                    <a:cubicBezTo>
                      <a:pt x="0" y="640"/>
                      <a:pt x="18" y="656"/>
                      <a:pt x="40" y="656"/>
                    </a:cubicBezTo>
                    <a:cubicBezTo>
                      <a:pt x="186" y="656"/>
                      <a:pt x="186" y="656"/>
                      <a:pt x="186" y="656"/>
                    </a:cubicBezTo>
                    <a:cubicBezTo>
                      <a:pt x="208" y="656"/>
                      <a:pt x="226" y="640"/>
                      <a:pt x="226" y="619"/>
                    </a:cubicBezTo>
                    <a:cubicBezTo>
                      <a:pt x="226" y="0"/>
                      <a:pt x="226" y="0"/>
                      <a:pt x="226" y="0"/>
                    </a:cubicBezTo>
                    <a:cubicBezTo>
                      <a:pt x="94" y="132"/>
                      <a:pt x="94" y="132"/>
                      <a:pt x="94" y="132"/>
                    </a:cubicBezTo>
                    <a:cubicBezTo>
                      <a:pt x="73" y="153"/>
                      <a:pt x="44" y="165"/>
                      <a:pt x="15" y="165"/>
                    </a:cubicBezTo>
                    <a:cubicBezTo>
                      <a:pt x="10" y="165"/>
                      <a:pt x="5" y="165"/>
                      <a:pt x="0" y="1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mtClean="0">
                  <a:solidFill>
                    <a:prstClr val="black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18"/>
              <p:cNvSpPr>
                <a:spLocks/>
              </p:cNvSpPr>
              <p:nvPr/>
            </p:nvSpPr>
            <p:spPr bwMode="auto">
              <a:xfrm>
                <a:off x="2341563" y="3736976"/>
                <a:ext cx="63500" cy="242888"/>
              </a:xfrm>
              <a:custGeom>
                <a:avLst/>
                <a:gdLst>
                  <a:gd name="T0" fmla="*/ 78 w 226"/>
                  <a:gd name="T1" fmla="*/ 0 h 846"/>
                  <a:gd name="T2" fmla="*/ 0 w 226"/>
                  <a:gd name="T3" fmla="*/ 78 h 846"/>
                  <a:gd name="T4" fmla="*/ 0 w 226"/>
                  <a:gd name="T5" fmla="*/ 807 h 846"/>
                  <a:gd name="T6" fmla="*/ 40 w 226"/>
                  <a:gd name="T7" fmla="*/ 846 h 846"/>
                  <a:gd name="T8" fmla="*/ 186 w 226"/>
                  <a:gd name="T9" fmla="*/ 846 h 846"/>
                  <a:gd name="T10" fmla="*/ 226 w 226"/>
                  <a:gd name="T11" fmla="*/ 807 h 846"/>
                  <a:gd name="T12" fmla="*/ 226 w 226"/>
                  <a:gd name="T13" fmla="*/ 56 h 846"/>
                  <a:gd name="T14" fmla="*/ 173 w 226"/>
                  <a:gd name="T15" fmla="*/ 71 h 846"/>
                  <a:gd name="T16" fmla="*/ 78 w 226"/>
                  <a:gd name="T17" fmla="*/ 0 h 8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6" h="846">
                    <a:moveTo>
                      <a:pt x="78" y="0"/>
                    </a:moveTo>
                    <a:cubicBezTo>
                      <a:pt x="0" y="78"/>
                      <a:pt x="0" y="78"/>
                      <a:pt x="0" y="78"/>
                    </a:cubicBezTo>
                    <a:cubicBezTo>
                      <a:pt x="0" y="807"/>
                      <a:pt x="0" y="807"/>
                      <a:pt x="0" y="807"/>
                    </a:cubicBezTo>
                    <a:cubicBezTo>
                      <a:pt x="0" y="829"/>
                      <a:pt x="18" y="846"/>
                      <a:pt x="40" y="846"/>
                    </a:cubicBezTo>
                    <a:cubicBezTo>
                      <a:pt x="186" y="846"/>
                      <a:pt x="186" y="846"/>
                      <a:pt x="186" y="846"/>
                    </a:cubicBezTo>
                    <a:cubicBezTo>
                      <a:pt x="208" y="846"/>
                      <a:pt x="226" y="829"/>
                      <a:pt x="226" y="807"/>
                    </a:cubicBezTo>
                    <a:cubicBezTo>
                      <a:pt x="226" y="56"/>
                      <a:pt x="226" y="56"/>
                      <a:pt x="226" y="56"/>
                    </a:cubicBezTo>
                    <a:cubicBezTo>
                      <a:pt x="210" y="65"/>
                      <a:pt x="193" y="71"/>
                      <a:pt x="173" y="71"/>
                    </a:cubicBezTo>
                    <a:cubicBezTo>
                      <a:pt x="129" y="71"/>
                      <a:pt x="91" y="41"/>
                      <a:pt x="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mtClean="0">
                  <a:solidFill>
                    <a:prstClr val="black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19"/>
              <p:cNvSpPr>
                <a:spLocks/>
              </p:cNvSpPr>
              <p:nvPr/>
            </p:nvSpPr>
            <p:spPr bwMode="auto">
              <a:xfrm>
                <a:off x="2046288" y="3646488"/>
                <a:ext cx="360363" cy="254000"/>
              </a:xfrm>
              <a:custGeom>
                <a:avLst/>
                <a:gdLst>
                  <a:gd name="T0" fmla="*/ 73 w 1256"/>
                  <a:gd name="T1" fmla="*/ 890 h 890"/>
                  <a:gd name="T2" fmla="*/ 119 w 1256"/>
                  <a:gd name="T3" fmla="*/ 871 h 890"/>
                  <a:gd name="T4" fmla="*/ 522 w 1256"/>
                  <a:gd name="T5" fmla="*/ 469 h 890"/>
                  <a:gd name="T6" fmla="*/ 659 w 1256"/>
                  <a:gd name="T7" fmla="*/ 606 h 890"/>
                  <a:gd name="T8" fmla="*/ 706 w 1256"/>
                  <a:gd name="T9" fmla="*/ 626 h 890"/>
                  <a:gd name="T10" fmla="*/ 752 w 1256"/>
                  <a:gd name="T11" fmla="*/ 606 h 890"/>
                  <a:gd name="T12" fmla="*/ 1150 w 1256"/>
                  <a:gd name="T13" fmla="*/ 209 h 890"/>
                  <a:gd name="T14" fmla="*/ 1150 w 1256"/>
                  <a:gd name="T15" fmla="*/ 288 h 890"/>
                  <a:gd name="T16" fmla="*/ 1202 w 1256"/>
                  <a:gd name="T17" fmla="*/ 341 h 890"/>
                  <a:gd name="T18" fmla="*/ 1255 w 1256"/>
                  <a:gd name="T19" fmla="*/ 288 h 890"/>
                  <a:gd name="T20" fmla="*/ 1255 w 1256"/>
                  <a:gd name="T21" fmla="*/ 85 h 890"/>
                  <a:gd name="T22" fmla="*/ 1255 w 1256"/>
                  <a:gd name="T23" fmla="*/ 64 h 890"/>
                  <a:gd name="T24" fmla="*/ 1255 w 1256"/>
                  <a:gd name="T25" fmla="*/ 53 h 890"/>
                  <a:gd name="T26" fmla="*/ 1202 w 1256"/>
                  <a:gd name="T27" fmla="*/ 0 h 890"/>
                  <a:gd name="T28" fmla="*/ 963 w 1256"/>
                  <a:gd name="T29" fmla="*/ 0 h 890"/>
                  <a:gd name="T30" fmla="*/ 910 w 1256"/>
                  <a:gd name="T31" fmla="*/ 53 h 890"/>
                  <a:gd name="T32" fmla="*/ 963 w 1256"/>
                  <a:gd name="T33" fmla="*/ 106 h 890"/>
                  <a:gd name="T34" fmla="*/ 1065 w 1256"/>
                  <a:gd name="T35" fmla="*/ 106 h 890"/>
                  <a:gd name="T36" fmla="*/ 705 w 1256"/>
                  <a:gd name="T37" fmla="*/ 466 h 890"/>
                  <a:gd name="T38" fmla="*/ 568 w 1256"/>
                  <a:gd name="T39" fmla="*/ 329 h 890"/>
                  <a:gd name="T40" fmla="*/ 522 w 1256"/>
                  <a:gd name="T41" fmla="*/ 309 h 890"/>
                  <a:gd name="T42" fmla="*/ 475 w 1256"/>
                  <a:gd name="T43" fmla="*/ 329 h 890"/>
                  <a:gd name="T44" fmla="*/ 26 w 1256"/>
                  <a:gd name="T45" fmla="*/ 777 h 890"/>
                  <a:gd name="T46" fmla="*/ 26 w 1256"/>
                  <a:gd name="T47" fmla="*/ 871 h 890"/>
                  <a:gd name="T48" fmla="*/ 73 w 1256"/>
                  <a:gd name="T49" fmla="*/ 890 h 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56" h="890">
                    <a:moveTo>
                      <a:pt x="73" y="890"/>
                    </a:moveTo>
                    <a:cubicBezTo>
                      <a:pt x="90" y="890"/>
                      <a:pt x="107" y="884"/>
                      <a:pt x="119" y="871"/>
                    </a:cubicBezTo>
                    <a:cubicBezTo>
                      <a:pt x="522" y="469"/>
                      <a:pt x="522" y="469"/>
                      <a:pt x="522" y="469"/>
                    </a:cubicBezTo>
                    <a:cubicBezTo>
                      <a:pt x="659" y="606"/>
                      <a:pt x="659" y="606"/>
                      <a:pt x="659" y="606"/>
                    </a:cubicBezTo>
                    <a:cubicBezTo>
                      <a:pt x="671" y="619"/>
                      <a:pt x="688" y="626"/>
                      <a:pt x="706" y="626"/>
                    </a:cubicBezTo>
                    <a:cubicBezTo>
                      <a:pt x="723" y="626"/>
                      <a:pt x="740" y="619"/>
                      <a:pt x="752" y="606"/>
                    </a:cubicBezTo>
                    <a:cubicBezTo>
                      <a:pt x="1150" y="209"/>
                      <a:pt x="1150" y="209"/>
                      <a:pt x="1150" y="209"/>
                    </a:cubicBezTo>
                    <a:cubicBezTo>
                      <a:pt x="1150" y="288"/>
                      <a:pt x="1150" y="288"/>
                      <a:pt x="1150" y="288"/>
                    </a:cubicBezTo>
                    <a:cubicBezTo>
                      <a:pt x="1150" y="317"/>
                      <a:pt x="1173" y="341"/>
                      <a:pt x="1202" y="341"/>
                    </a:cubicBezTo>
                    <a:cubicBezTo>
                      <a:pt x="1232" y="341"/>
                      <a:pt x="1255" y="317"/>
                      <a:pt x="1255" y="288"/>
                    </a:cubicBezTo>
                    <a:cubicBezTo>
                      <a:pt x="1255" y="85"/>
                      <a:pt x="1255" y="85"/>
                      <a:pt x="1255" y="85"/>
                    </a:cubicBezTo>
                    <a:cubicBezTo>
                      <a:pt x="1256" y="78"/>
                      <a:pt x="1256" y="71"/>
                      <a:pt x="1255" y="64"/>
                    </a:cubicBezTo>
                    <a:cubicBezTo>
                      <a:pt x="1255" y="53"/>
                      <a:pt x="1255" y="53"/>
                      <a:pt x="1255" y="53"/>
                    </a:cubicBezTo>
                    <a:cubicBezTo>
                      <a:pt x="1255" y="24"/>
                      <a:pt x="1232" y="0"/>
                      <a:pt x="1202" y="0"/>
                    </a:cubicBezTo>
                    <a:cubicBezTo>
                      <a:pt x="963" y="0"/>
                      <a:pt x="963" y="0"/>
                      <a:pt x="963" y="0"/>
                    </a:cubicBezTo>
                    <a:cubicBezTo>
                      <a:pt x="934" y="0"/>
                      <a:pt x="910" y="24"/>
                      <a:pt x="910" y="53"/>
                    </a:cubicBezTo>
                    <a:cubicBezTo>
                      <a:pt x="910" y="82"/>
                      <a:pt x="934" y="106"/>
                      <a:pt x="963" y="106"/>
                    </a:cubicBezTo>
                    <a:cubicBezTo>
                      <a:pt x="1065" y="106"/>
                      <a:pt x="1065" y="106"/>
                      <a:pt x="1065" y="106"/>
                    </a:cubicBezTo>
                    <a:cubicBezTo>
                      <a:pt x="705" y="466"/>
                      <a:pt x="705" y="466"/>
                      <a:pt x="705" y="466"/>
                    </a:cubicBezTo>
                    <a:cubicBezTo>
                      <a:pt x="568" y="329"/>
                      <a:pt x="568" y="329"/>
                      <a:pt x="568" y="329"/>
                    </a:cubicBezTo>
                    <a:cubicBezTo>
                      <a:pt x="555" y="316"/>
                      <a:pt x="538" y="309"/>
                      <a:pt x="522" y="309"/>
                    </a:cubicBezTo>
                    <a:cubicBezTo>
                      <a:pt x="505" y="309"/>
                      <a:pt x="488" y="316"/>
                      <a:pt x="475" y="329"/>
                    </a:cubicBezTo>
                    <a:cubicBezTo>
                      <a:pt x="26" y="777"/>
                      <a:pt x="26" y="777"/>
                      <a:pt x="26" y="777"/>
                    </a:cubicBezTo>
                    <a:cubicBezTo>
                      <a:pt x="0" y="803"/>
                      <a:pt x="0" y="845"/>
                      <a:pt x="26" y="871"/>
                    </a:cubicBezTo>
                    <a:cubicBezTo>
                      <a:pt x="39" y="884"/>
                      <a:pt x="56" y="890"/>
                      <a:pt x="73" y="8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kern="0" smtClean="0">
                  <a:solidFill>
                    <a:prstClr val="black"/>
                  </a:solidFill>
                  <a:latin typeface="Arial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74" name="Oval 73"/>
          <p:cNvSpPr/>
          <p:nvPr/>
        </p:nvSpPr>
        <p:spPr>
          <a:xfrm>
            <a:off x="6079886" y="1232273"/>
            <a:ext cx="1422630" cy="1422630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rgbClr val="0F6FC6">
                <a:shade val="50000"/>
              </a:srgbClr>
            </a:solidFill>
            <a:prstDash val="solid"/>
            <a:miter lim="800000"/>
          </a:ln>
          <a:effectLst>
            <a:innerShdw blurRad="114300">
              <a:prstClr val="black"/>
            </a:inn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1" name="Oval 110"/>
          <p:cNvSpPr/>
          <p:nvPr/>
        </p:nvSpPr>
        <p:spPr>
          <a:xfrm>
            <a:off x="6160652" y="1321123"/>
            <a:ext cx="1267645" cy="1232974"/>
          </a:xfrm>
          <a:prstGeom prst="ellipse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9" name="Rectangle 108"/>
          <p:cNvSpPr/>
          <p:nvPr/>
        </p:nvSpPr>
        <p:spPr>
          <a:xfrm>
            <a:off x="8638330" y="2145213"/>
            <a:ext cx="62851" cy="3293803"/>
          </a:xfrm>
          <a:prstGeom prst="rect">
            <a:avLst/>
          </a:prstGeom>
          <a:solidFill>
            <a:srgbClr val="00549E"/>
          </a:solidFill>
          <a:ln w="1270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5897294" y="2115190"/>
            <a:ext cx="62851" cy="3293803"/>
          </a:xfrm>
          <a:prstGeom prst="rect">
            <a:avLst/>
          </a:prstGeom>
          <a:solidFill>
            <a:srgbClr val="00549E"/>
          </a:solidFill>
          <a:ln w="1270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875630" y="2133931"/>
            <a:ext cx="62851" cy="3293803"/>
          </a:xfrm>
          <a:prstGeom prst="rect">
            <a:avLst/>
          </a:prstGeom>
          <a:solidFill>
            <a:srgbClr val="00549E"/>
          </a:solidFill>
          <a:ln w="1270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156929" y="2096449"/>
            <a:ext cx="74115" cy="3331286"/>
          </a:xfrm>
          <a:prstGeom prst="rect">
            <a:avLst/>
          </a:prstGeom>
          <a:solidFill>
            <a:srgbClr val="00549E"/>
          </a:solidFill>
          <a:ln w="12700" cap="flat" cmpd="sng" algn="ctr">
            <a:noFill/>
            <a:prstDash val="solid"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ker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12192000" cy="857250"/>
          </a:xfrm>
          <a:prstGeom prst="rect">
            <a:avLst/>
          </a:prstGeom>
          <a:solidFill>
            <a:srgbClr val="1EA5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0" y="781050"/>
            <a:ext cx="12192000" cy="85725"/>
          </a:xfrm>
          <a:prstGeom prst="rect">
            <a:avLst/>
          </a:prstGeom>
          <a:solidFill>
            <a:srgbClr val="0554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19318" y="413957"/>
            <a:ext cx="95399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prstClr val="white"/>
                </a:solidFill>
              </a:rPr>
              <a:t>The Cooperative </a:t>
            </a:r>
            <a:r>
              <a:rPr lang="en-US" b="1" dirty="0">
                <a:solidFill>
                  <a:prstClr val="white"/>
                </a:solidFill>
              </a:rPr>
              <a:t>Contract Award Process</a:t>
            </a:r>
          </a:p>
        </p:txBody>
      </p:sp>
      <p:sp>
        <p:nvSpPr>
          <p:cNvPr id="63" name="Oval 62"/>
          <p:cNvSpPr/>
          <p:nvPr/>
        </p:nvSpPr>
        <p:spPr>
          <a:xfrm>
            <a:off x="254347" y="1226295"/>
            <a:ext cx="1422630" cy="1422630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rgbClr val="8DC63F">
                <a:shade val="50000"/>
              </a:srgbClr>
            </a:solidFill>
            <a:prstDash val="solid"/>
            <a:miter lim="800000"/>
          </a:ln>
          <a:effectLst>
            <a:innerShdw blurRad="114300">
              <a:prstClr val="black"/>
            </a:inn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smtClean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75" name="Group 74"/>
          <p:cNvGrpSpPr/>
          <p:nvPr/>
        </p:nvGrpSpPr>
        <p:grpSpPr>
          <a:xfrm>
            <a:off x="6291575" y="1510194"/>
            <a:ext cx="999247" cy="866788"/>
            <a:chOff x="3662365" y="2824163"/>
            <a:chExt cx="682626" cy="592138"/>
          </a:xfrm>
          <a:solidFill>
            <a:srgbClr val="17406D"/>
          </a:solidFill>
        </p:grpSpPr>
        <p:sp>
          <p:nvSpPr>
            <p:cNvPr id="76" name="Oval 53"/>
            <p:cNvSpPr>
              <a:spLocks noChangeArrowheads="1"/>
            </p:cNvSpPr>
            <p:nvPr/>
          </p:nvSpPr>
          <p:spPr bwMode="auto">
            <a:xfrm>
              <a:off x="4235455" y="2938463"/>
              <a:ext cx="57150" cy="69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7" name="Oval 54"/>
            <p:cNvSpPr>
              <a:spLocks noChangeArrowheads="1"/>
            </p:cNvSpPr>
            <p:nvPr/>
          </p:nvSpPr>
          <p:spPr bwMode="auto">
            <a:xfrm>
              <a:off x="3716341" y="2938463"/>
              <a:ext cx="55563" cy="698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8" name="Freeform 55"/>
            <p:cNvSpPr>
              <a:spLocks/>
            </p:cNvSpPr>
            <p:nvPr/>
          </p:nvSpPr>
          <p:spPr bwMode="auto">
            <a:xfrm>
              <a:off x="3662365" y="3006726"/>
              <a:ext cx="125413" cy="352425"/>
            </a:xfrm>
            <a:custGeom>
              <a:avLst/>
              <a:gdLst>
                <a:gd name="T0" fmla="*/ 52 w 52"/>
                <a:gd name="T1" fmla="*/ 80 h 145"/>
                <a:gd name="T2" fmla="*/ 43 w 52"/>
                <a:gd name="T3" fmla="*/ 77 h 145"/>
                <a:gd name="T4" fmla="*/ 40 w 52"/>
                <a:gd name="T5" fmla="*/ 73 h 145"/>
                <a:gd name="T6" fmla="*/ 44 w 52"/>
                <a:gd name="T7" fmla="*/ 0 h 145"/>
                <a:gd name="T8" fmla="*/ 43 w 52"/>
                <a:gd name="T9" fmla="*/ 0 h 145"/>
                <a:gd name="T10" fmla="*/ 34 w 52"/>
                <a:gd name="T11" fmla="*/ 17 h 145"/>
                <a:gd name="T12" fmla="*/ 24 w 52"/>
                <a:gd name="T13" fmla="*/ 0 h 145"/>
                <a:gd name="T14" fmla="*/ 5 w 52"/>
                <a:gd name="T15" fmla="*/ 74 h 145"/>
                <a:gd name="T16" fmla="*/ 13 w 52"/>
                <a:gd name="T17" fmla="*/ 76 h 145"/>
                <a:gd name="T18" fmla="*/ 14 w 52"/>
                <a:gd name="T19" fmla="*/ 62 h 145"/>
                <a:gd name="T20" fmla="*/ 24 w 52"/>
                <a:gd name="T21" fmla="*/ 143 h 145"/>
                <a:gd name="T22" fmla="*/ 44 w 52"/>
                <a:gd name="T23" fmla="*/ 143 h 145"/>
                <a:gd name="T24" fmla="*/ 52 w 52"/>
                <a:gd name="T25" fmla="*/ 81 h 145"/>
                <a:gd name="T26" fmla="*/ 52 w 52"/>
                <a:gd name="T27" fmla="*/ 8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145">
                  <a:moveTo>
                    <a:pt x="52" y="80"/>
                  </a:moveTo>
                  <a:cubicBezTo>
                    <a:pt x="50" y="79"/>
                    <a:pt x="47" y="79"/>
                    <a:pt x="43" y="77"/>
                  </a:cubicBezTo>
                  <a:cubicBezTo>
                    <a:pt x="42" y="76"/>
                    <a:pt x="41" y="74"/>
                    <a:pt x="40" y="73"/>
                  </a:cubicBezTo>
                  <a:cubicBezTo>
                    <a:pt x="37" y="40"/>
                    <a:pt x="38" y="16"/>
                    <a:pt x="44" y="0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43" y="0"/>
                    <a:pt x="37" y="4"/>
                    <a:pt x="34" y="17"/>
                  </a:cubicBezTo>
                  <a:cubicBezTo>
                    <a:pt x="31" y="4"/>
                    <a:pt x="24" y="0"/>
                    <a:pt x="24" y="0"/>
                  </a:cubicBezTo>
                  <a:cubicBezTo>
                    <a:pt x="10" y="0"/>
                    <a:pt x="0" y="20"/>
                    <a:pt x="5" y="74"/>
                  </a:cubicBezTo>
                  <a:cubicBezTo>
                    <a:pt x="9" y="76"/>
                    <a:pt x="13" y="76"/>
                    <a:pt x="13" y="76"/>
                  </a:cubicBezTo>
                  <a:cubicBezTo>
                    <a:pt x="13" y="71"/>
                    <a:pt x="14" y="67"/>
                    <a:pt x="14" y="62"/>
                  </a:cubicBezTo>
                  <a:cubicBezTo>
                    <a:pt x="15" y="87"/>
                    <a:pt x="18" y="115"/>
                    <a:pt x="24" y="143"/>
                  </a:cubicBezTo>
                  <a:cubicBezTo>
                    <a:pt x="29" y="145"/>
                    <a:pt x="39" y="145"/>
                    <a:pt x="44" y="143"/>
                  </a:cubicBezTo>
                  <a:cubicBezTo>
                    <a:pt x="48" y="122"/>
                    <a:pt x="51" y="101"/>
                    <a:pt x="52" y="81"/>
                  </a:cubicBezTo>
                  <a:cubicBezTo>
                    <a:pt x="52" y="81"/>
                    <a:pt x="52" y="80"/>
                    <a:pt x="52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79" name="Freeform 56"/>
            <p:cNvSpPr>
              <a:spLocks/>
            </p:cNvSpPr>
            <p:nvPr/>
          </p:nvSpPr>
          <p:spPr bwMode="auto">
            <a:xfrm>
              <a:off x="4219578" y="3006726"/>
              <a:ext cx="125413" cy="352425"/>
            </a:xfrm>
            <a:custGeom>
              <a:avLst/>
              <a:gdLst>
                <a:gd name="T0" fmla="*/ 28 w 52"/>
                <a:gd name="T1" fmla="*/ 0 h 145"/>
                <a:gd name="T2" fmla="*/ 18 w 52"/>
                <a:gd name="T3" fmla="*/ 17 h 145"/>
                <a:gd name="T4" fmla="*/ 9 w 52"/>
                <a:gd name="T5" fmla="*/ 0 h 145"/>
                <a:gd name="T6" fmla="*/ 9 w 52"/>
                <a:gd name="T7" fmla="*/ 0 h 145"/>
                <a:gd name="T8" fmla="*/ 12 w 52"/>
                <a:gd name="T9" fmla="*/ 73 h 145"/>
                <a:gd name="T10" fmla="*/ 9 w 52"/>
                <a:gd name="T11" fmla="*/ 77 h 145"/>
                <a:gd name="T12" fmla="*/ 0 w 52"/>
                <a:gd name="T13" fmla="*/ 80 h 145"/>
                <a:gd name="T14" fmla="*/ 0 w 52"/>
                <a:gd name="T15" fmla="*/ 81 h 145"/>
                <a:gd name="T16" fmla="*/ 8 w 52"/>
                <a:gd name="T17" fmla="*/ 143 h 145"/>
                <a:gd name="T18" fmla="*/ 28 w 52"/>
                <a:gd name="T19" fmla="*/ 143 h 145"/>
                <a:gd name="T20" fmla="*/ 38 w 52"/>
                <a:gd name="T21" fmla="*/ 62 h 145"/>
                <a:gd name="T22" fmla="*/ 39 w 52"/>
                <a:gd name="T23" fmla="*/ 76 h 145"/>
                <a:gd name="T24" fmla="*/ 47 w 52"/>
                <a:gd name="T25" fmla="*/ 74 h 145"/>
                <a:gd name="T26" fmla="*/ 28 w 52"/>
                <a:gd name="T27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" h="145">
                  <a:moveTo>
                    <a:pt x="28" y="0"/>
                  </a:moveTo>
                  <a:cubicBezTo>
                    <a:pt x="28" y="0"/>
                    <a:pt x="22" y="4"/>
                    <a:pt x="18" y="17"/>
                  </a:cubicBezTo>
                  <a:cubicBezTo>
                    <a:pt x="15" y="4"/>
                    <a:pt x="9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4" y="16"/>
                    <a:pt x="15" y="40"/>
                    <a:pt x="12" y="73"/>
                  </a:cubicBezTo>
                  <a:cubicBezTo>
                    <a:pt x="11" y="74"/>
                    <a:pt x="10" y="76"/>
                    <a:pt x="9" y="77"/>
                  </a:cubicBezTo>
                  <a:cubicBezTo>
                    <a:pt x="5" y="79"/>
                    <a:pt x="2" y="79"/>
                    <a:pt x="0" y="80"/>
                  </a:cubicBezTo>
                  <a:cubicBezTo>
                    <a:pt x="0" y="80"/>
                    <a:pt x="0" y="81"/>
                    <a:pt x="0" y="81"/>
                  </a:cubicBezTo>
                  <a:cubicBezTo>
                    <a:pt x="1" y="101"/>
                    <a:pt x="4" y="122"/>
                    <a:pt x="8" y="143"/>
                  </a:cubicBezTo>
                  <a:cubicBezTo>
                    <a:pt x="13" y="145"/>
                    <a:pt x="23" y="145"/>
                    <a:pt x="28" y="143"/>
                  </a:cubicBezTo>
                  <a:cubicBezTo>
                    <a:pt x="34" y="115"/>
                    <a:pt x="37" y="87"/>
                    <a:pt x="38" y="62"/>
                  </a:cubicBezTo>
                  <a:cubicBezTo>
                    <a:pt x="38" y="67"/>
                    <a:pt x="39" y="71"/>
                    <a:pt x="39" y="76"/>
                  </a:cubicBezTo>
                  <a:cubicBezTo>
                    <a:pt x="39" y="76"/>
                    <a:pt x="43" y="76"/>
                    <a:pt x="47" y="74"/>
                  </a:cubicBezTo>
                  <a:cubicBezTo>
                    <a:pt x="52" y="20"/>
                    <a:pt x="42" y="0"/>
                    <a:pt x="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0" name="Oval 57"/>
            <p:cNvSpPr>
              <a:spLocks noChangeArrowheads="1"/>
            </p:cNvSpPr>
            <p:nvPr/>
          </p:nvSpPr>
          <p:spPr bwMode="auto">
            <a:xfrm>
              <a:off x="3822702" y="2879726"/>
              <a:ext cx="68263" cy="857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1" name="Oval 58"/>
            <p:cNvSpPr>
              <a:spLocks noChangeArrowheads="1"/>
            </p:cNvSpPr>
            <p:nvPr/>
          </p:nvSpPr>
          <p:spPr bwMode="auto">
            <a:xfrm>
              <a:off x="4114803" y="2879726"/>
              <a:ext cx="68263" cy="857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2" name="Freeform 59"/>
            <p:cNvSpPr>
              <a:spLocks/>
            </p:cNvSpPr>
            <p:nvPr/>
          </p:nvSpPr>
          <p:spPr bwMode="auto">
            <a:xfrm>
              <a:off x="4094167" y="2962276"/>
              <a:ext cx="155575" cy="428625"/>
            </a:xfrm>
            <a:custGeom>
              <a:avLst/>
              <a:gdLst>
                <a:gd name="T0" fmla="*/ 34 w 64"/>
                <a:gd name="T1" fmla="*/ 0 h 176"/>
                <a:gd name="T2" fmla="*/ 23 w 64"/>
                <a:gd name="T3" fmla="*/ 21 h 176"/>
                <a:gd name="T4" fmla="*/ 11 w 64"/>
                <a:gd name="T5" fmla="*/ 0 h 176"/>
                <a:gd name="T6" fmla="*/ 4 w 64"/>
                <a:gd name="T7" fmla="*/ 1 h 176"/>
                <a:gd name="T8" fmla="*/ 8 w 64"/>
                <a:gd name="T9" fmla="*/ 87 h 176"/>
                <a:gd name="T10" fmla="*/ 5 w 64"/>
                <a:gd name="T11" fmla="*/ 92 h 176"/>
                <a:gd name="T12" fmla="*/ 0 w 64"/>
                <a:gd name="T13" fmla="*/ 94 h 176"/>
                <a:gd name="T14" fmla="*/ 10 w 64"/>
                <a:gd name="T15" fmla="*/ 174 h 176"/>
                <a:gd name="T16" fmla="*/ 35 w 64"/>
                <a:gd name="T17" fmla="*/ 174 h 176"/>
                <a:gd name="T18" fmla="*/ 47 w 64"/>
                <a:gd name="T19" fmla="*/ 76 h 176"/>
                <a:gd name="T20" fmla="*/ 47 w 64"/>
                <a:gd name="T21" fmla="*/ 93 h 176"/>
                <a:gd name="T22" fmla="*/ 57 w 64"/>
                <a:gd name="T23" fmla="*/ 90 h 176"/>
                <a:gd name="T24" fmla="*/ 34 w 64"/>
                <a:gd name="T25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176">
                  <a:moveTo>
                    <a:pt x="34" y="0"/>
                  </a:moveTo>
                  <a:cubicBezTo>
                    <a:pt x="34" y="0"/>
                    <a:pt x="27" y="5"/>
                    <a:pt x="23" y="21"/>
                  </a:cubicBezTo>
                  <a:cubicBezTo>
                    <a:pt x="19" y="5"/>
                    <a:pt x="11" y="0"/>
                    <a:pt x="11" y="0"/>
                  </a:cubicBezTo>
                  <a:cubicBezTo>
                    <a:pt x="9" y="0"/>
                    <a:pt x="6" y="0"/>
                    <a:pt x="4" y="1"/>
                  </a:cubicBezTo>
                  <a:cubicBezTo>
                    <a:pt x="11" y="20"/>
                    <a:pt x="12" y="49"/>
                    <a:pt x="8" y="87"/>
                  </a:cubicBezTo>
                  <a:cubicBezTo>
                    <a:pt x="8" y="89"/>
                    <a:pt x="7" y="91"/>
                    <a:pt x="5" y="92"/>
                  </a:cubicBezTo>
                  <a:cubicBezTo>
                    <a:pt x="3" y="93"/>
                    <a:pt x="1" y="93"/>
                    <a:pt x="0" y="94"/>
                  </a:cubicBezTo>
                  <a:cubicBezTo>
                    <a:pt x="2" y="119"/>
                    <a:pt x="5" y="147"/>
                    <a:pt x="10" y="174"/>
                  </a:cubicBezTo>
                  <a:cubicBezTo>
                    <a:pt x="17" y="176"/>
                    <a:pt x="29" y="176"/>
                    <a:pt x="35" y="174"/>
                  </a:cubicBezTo>
                  <a:cubicBezTo>
                    <a:pt x="41" y="140"/>
                    <a:pt x="45" y="105"/>
                    <a:pt x="47" y="76"/>
                  </a:cubicBezTo>
                  <a:cubicBezTo>
                    <a:pt x="47" y="81"/>
                    <a:pt x="47" y="86"/>
                    <a:pt x="47" y="93"/>
                  </a:cubicBezTo>
                  <a:cubicBezTo>
                    <a:pt x="47" y="93"/>
                    <a:pt x="52" y="93"/>
                    <a:pt x="57" y="90"/>
                  </a:cubicBezTo>
                  <a:cubicBezTo>
                    <a:pt x="64" y="24"/>
                    <a:pt x="52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Freeform 60"/>
            <p:cNvSpPr>
              <a:spLocks/>
            </p:cNvSpPr>
            <p:nvPr/>
          </p:nvSpPr>
          <p:spPr bwMode="auto">
            <a:xfrm>
              <a:off x="3759201" y="2962276"/>
              <a:ext cx="155575" cy="428625"/>
            </a:xfrm>
            <a:custGeom>
              <a:avLst/>
              <a:gdLst>
                <a:gd name="T0" fmla="*/ 58 w 64"/>
                <a:gd name="T1" fmla="*/ 92 h 176"/>
                <a:gd name="T2" fmla="*/ 55 w 64"/>
                <a:gd name="T3" fmla="*/ 87 h 176"/>
                <a:gd name="T4" fmla="*/ 59 w 64"/>
                <a:gd name="T5" fmla="*/ 1 h 176"/>
                <a:gd name="T6" fmla="*/ 52 w 64"/>
                <a:gd name="T7" fmla="*/ 0 h 176"/>
                <a:gd name="T8" fmla="*/ 40 w 64"/>
                <a:gd name="T9" fmla="*/ 21 h 176"/>
                <a:gd name="T10" fmla="*/ 29 w 64"/>
                <a:gd name="T11" fmla="*/ 0 h 176"/>
                <a:gd name="T12" fmla="*/ 6 w 64"/>
                <a:gd name="T13" fmla="*/ 90 h 176"/>
                <a:gd name="T14" fmla="*/ 16 w 64"/>
                <a:gd name="T15" fmla="*/ 93 h 176"/>
                <a:gd name="T16" fmla="*/ 16 w 64"/>
                <a:gd name="T17" fmla="*/ 76 h 176"/>
                <a:gd name="T18" fmla="*/ 28 w 64"/>
                <a:gd name="T19" fmla="*/ 174 h 176"/>
                <a:gd name="T20" fmla="*/ 53 w 64"/>
                <a:gd name="T21" fmla="*/ 174 h 176"/>
                <a:gd name="T22" fmla="*/ 64 w 64"/>
                <a:gd name="T23" fmla="*/ 94 h 176"/>
                <a:gd name="T24" fmla="*/ 58 w 64"/>
                <a:gd name="T25" fmla="*/ 9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176">
                  <a:moveTo>
                    <a:pt x="58" y="92"/>
                  </a:moveTo>
                  <a:cubicBezTo>
                    <a:pt x="56" y="91"/>
                    <a:pt x="55" y="89"/>
                    <a:pt x="55" y="87"/>
                  </a:cubicBezTo>
                  <a:cubicBezTo>
                    <a:pt x="51" y="49"/>
                    <a:pt x="52" y="20"/>
                    <a:pt x="59" y="1"/>
                  </a:cubicBezTo>
                  <a:cubicBezTo>
                    <a:pt x="57" y="0"/>
                    <a:pt x="54" y="0"/>
                    <a:pt x="52" y="0"/>
                  </a:cubicBezTo>
                  <a:cubicBezTo>
                    <a:pt x="52" y="0"/>
                    <a:pt x="44" y="5"/>
                    <a:pt x="40" y="21"/>
                  </a:cubicBezTo>
                  <a:cubicBezTo>
                    <a:pt x="37" y="5"/>
                    <a:pt x="29" y="0"/>
                    <a:pt x="29" y="0"/>
                  </a:cubicBezTo>
                  <a:cubicBezTo>
                    <a:pt x="11" y="0"/>
                    <a:pt x="0" y="24"/>
                    <a:pt x="6" y="90"/>
                  </a:cubicBezTo>
                  <a:cubicBezTo>
                    <a:pt x="11" y="93"/>
                    <a:pt x="16" y="93"/>
                    <a:pt x="16" y="93"/>
                  </a:cubicBezTo>
                  <a:cubicBezTo>
                    <a:pt x="16" y="86"/>
                    <a:pt x="16" y="81"/>
                    <a:pt x="16" y="76"/>
                  </a:cubicBezTo>
                  <a:cubicBezTo>
                    <a:pt x="18" y="105"/>
                    <a:pt x="22" y="140"/>
                    <a:pt x="28" y="174"/>
                  </a:cubicBezTo>
                  <a:cubicBezTo>
                    <a:pt x="35" y="176"/>
                    <a:pt x="46" y="176"/>
                    <a:pt x="53" y="174"/>
                  </a:cubicBezTo>
                  <a:cubicBezTo>
                    <a:pt x="58" y="147"/>
                    <a:pt x="62" y="119"/>
                    <a:pt x="64" y="94"/>
                  </a:cubicBezTo>
                  <a:cubicBezTo>
                    <a:pt x="62" y="93"/>
                    <a:pt x="60" y="93"/>
                    <a:pt x="58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4" name="Freeform 61"/>
            <p:cNvSpPr>
              <a:spLocks noEditPoints="1"/>
            </p:cNvSpPr>
            <p:nvPr/>
          </p:nvSpPr>
          <p:spPr bwMode="auto">
            <a:xfrm>
              <a:off x="3887788" y="2824163"/>
              <a:ext cx="231775" cy="592138"/>
            </a:xfrm>
            <a:custGeom>
              <a:avLst/>
              <a:gdLst>
                <a:gd name="T0" fmla="*/ 31 w 95"/>
                <a:gd name="T1" fmla="*/ 16 h 244"/>
                <a:gd name="T2" fmla="*/ 47 w 95"/>
                <a:gd name="T3" fmla="*/ 0 h 244"/>
                <a:gd name="T4" fmla="*/ 64 w 95"/>
                <a:gd name="T5" fmla="*/ 16 h 244"/>
                <a:gd name="T6" fmla="*/ 47 w 95"/>
                <a:gd name="T7" fmla="*/ 40 h 244"/>
                <a:gd name="T8" fmla="*/ 31 w 95"/>
                <a:gd name="T9" fmla="*/ 16 h 244"/>
                <a:gd name="T10" fmla="*/ 44 w 95"/>
                <a:gd name="T11" fmla="*/ 50 h 244"/>
                <a:gd name="T12" fmla="*/ 48 w 95"/>
                <a:gd name="T13" fmla="*/ 72 h 244"/>
                <a:gd name="T14" fmla="*/ 51 w 95"/>
                <a:gd name="T15" fmla="*/ 50 h 244"/>
                <a:gd name="T16" fmla="*/ 48 w 95"/>
                <a:gd name="T17" fmla="*/ 43 h 244"/>
                <a:gd name="T18" fmla="*/ 44 w 95"/>
                <a:gd name="T19" fmla="*/ 50 h 244"/>
                <a:gd name="T20" fmla="*/ 19 w 95"/>
                <a:gd name="T21" fmla="*/ 147 h 244"/>
                <a:gd name="T22" fmla="*/ 19 w 95"/>
                <a:gd name="T23" fmla="*/ 127 h 244"/>
                <a:gd name="T24" fmla="*/ 33 w 95"/>
                <a:gd name="T25" fmla="*/ 241 h 244"/>
                <a:gd name="T26" fmla="*/ 62 w 95"/>
                <a:gd name="T27" fmla="*/ 241 h 244"/>
                <a:gd name="T28" fmla="*/ 76 w 95"/>
                <a:gd name="T29" fmla="*/ 127 h 244"/>
                <a:gd name="T30" fmla="*/ 76 w 95"/>
                <a:gd name="T31" fmla="*/ 147 h 244"/>
                <a:gd name="T32" fmla="*/ 88 w 95"/>
                <a:gd name="T33" fmla="*/ 144 h 244"/>
                <a:gd name="T34" fmla="*/ 61 w 95"/>
                <a:gd name="T35" fmla="*/ 39 h 244"/>
                <a:gd name="T36" fmla="*/ 48 w 95"/>
                <a:gd name="T37" fmla="*/ 79 h 244"/>
                <a:gd name="T38" fmla="*/ 34 w 95"/>
                <a:gd name="T39" fmla="*/ 39 h 244"/>
                <a:gd name="T40" fmla="*/ 7 w 95"/>
                <a:gd name="T41" fmla="*/ 144 h 244"/>
                <a:gd name="T42" fmla="*/ 19 w 95"/>
                <a:gd name="T43" fmla="*/ 147 h 2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5" h="244">
                  <a:moveTo>
                    <a:pt x="31" y="16"/>
                  </a:moveTo>
                  <a:cubicBezTo>
                    <a:pt x="31" y="7"/>
                    <a:pt x="38" y="0"/>
                    <a:pt x="47" y="0"/>
                  </a:cubicBezTo>
                  <a:cubicBezTo>
                    <a:pt x="56" y="0"/>
                    <a:pt x="64" y="7"/>
                    <a:pt x="64" y="16"/>
                  </a:cubicBezTo>
                  <a:cubicBezTo>
                    <a:pt x="64" y="25"/>
                    <a:pt x="56" y="40"/>
                    <a:pt x="47" y="40"/>
                  </a:cubicBezTo>
                  <a:cubicBezTo>
                    <a:pt x="38" y="40"/>
                    <a:pt x="31" y="25"/>
                    <a:pt x="31" y="16"/>
                  </a:cubicBezTo>
                  <a:close/>
                  <a:moveTo>
                    <a:pt x="44" y="50"/>
                  </a:moveTo>
                  <a:cubicBezTo>
                    <a:pt x="45" y="54"/>
                    <a:pt x="47" y="62"/>
                    <a:pt x="48" y="72"/>
                  </a:cubicBezTo>
                  <a:cubicBezTo>
                    <a:pt x="49" y="62"/>
                    <a:pt x="50" y="54"/>
                    <a:pt x="51" y="50"/>
                  </a:cubicBezTo>
                  <a:cubicBezTo>
                    <a:pt x="53" y="45"/>
                    <a:pt x="51" y="43"/>
                    <a:pt x="48" y="43"/>
                  </a:cubicBezTo>
                  <a:cubicBezTo>
                    <a:pt x="44" y="43"/>
                    <a:pt x="42" y="45"/>
                    <a:pt x="44" y="50"/>
                  </a:cubicBezTo>
                  <a:close/>
                  <a:moveTo>
                    <a:pt x="19" y="147"/>
                  </a:moveTo>
                  <a:cubicBezTo>
                    <a:pt x="19" y="140"/>
                    <a:pt x="19" y="133"/>
                    <a:pt x="19" y="127"/>
                  </a:cubicBezTo>
                  <a:cubicBezTo>
                    <a:pt x="21" y="162"/>
                    <a:pt x="26" y="202"/>
                    <a:pt x="33" y="241"/>
                  </a:cubicBezTo>
                  <a:cubicBezTo>
                    <a:pt x="41" y="244"/>
                    <a:pt x="54" y="244"/>
                    <a:pt x="62" y="241"/>
                  </a:cubicBezTo>
                  <a:cubicBezTo>
                    <a:pt x="69" y="202"/>
                    <a:pt x="74" y="162"/>
                    <a:pt x="76" y="127"/>
                  </a:cubicBezTo>
                  <a:cubicBezTo>
                    <a:pt x="76" y="133"/>
                    <a:pt x="76" y="140"/>
                    <a:pt x="76" y="147"/>
                  </a:cubicBezTo>
                  <a:cubicBezTo>
                    <a:pt x="76" y="147"/>
                    <a:pt x="82" y="147"/>
                    <a:pt x="88" y="144"/>
                  </a:cubicBezTo>
                  <a:cubicBezTo>
                    <a:pt x="95" y="67"/>
                    <a:pt x="82" y="39"/>
                    <a:pt x="61" y="39"/>
                  </a:cubicBezTo>
                  <a:cubicBezTo>
                    <a:pt x="61" y="39"/>
                    <a:pt x="52" y="60"/>
                    <a:pt x="48" y="79"/>
                  </a:cubicBezTo>
                  <a:cubicBezTo>
                    <a:pt x="43" y="60"/>
                    <a:pt x="34" y="39"/>
                    <a:pt x="34" y="39"/>
                  </a:cubicBezTo>
                  <a:cubicBezTo>
                    <a:pt x="14" y="39"/>
                    <a:pt x="0" y="67"/>
                    <a:pt x="7" y="144"/>
                  </a:cubicBezTo>
                  <a:cubicBezTo>
                    <a:pt x="13" y="147"/>
                    <a:pt x="19" y="147"/>
                    <a:pt x="19" y="1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86" name="TextBox 85"/>
          <p:cNvSpPr txBox="1">
            <a:spLocks/>
          </p:cNvSpPr>
          <p:nvPr/>
        </p:nvSpPr>
        <p:spPr>
          <a:xfrm>
            <a:off x="291592" y="2824783"/>
            <a:ext cx="2536118" cy="7232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r>
              <a:rPr lang="en-US" sz="1400" b="1" dirty="0" smtClean="0">
                <a:solidFill>
                  <a:prstClr val="black"/>
                </a:solidFill>
                <a:latin typeface="Arial"/>
              </a:rPr>
              <a:t>Cooperative Develops Request for Proposal</a:t>
            </a:r>
          </a:p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87" name="Picture 8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9414" y="3896663"/>
            <a:ext cx="303483" cy="304838"/>
          </a:xfrm>
          <a:prstGeom prst="rect">
            <a:avLst/>
          </a:prstGeom>
        </p:spPr>
      </p:pic>
      <p:sp>
        <p:nvSpPr>
          <p:cNvPr id="88" name="TextBox 87"/>
          <p:cNvSpPr txBox="1">
            <a:spLocks/>
          </p:cNvSpPr>
          <p:nvPr/>
        </p:nvSpPr>
        <p:spPr>
          <a:xfrm>
            <a:off x="3067588" y="2865649"/>
            <a:ext cx="2420300" cy="7232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r>
              <a:rPr lang="en-US" sz="1400" b="1" dirty="0" smtClean="0">
                <a:solidFill>
                  <a:prstClr val="black"/>
                </a:solidFill>
                <a:latin typeface="Arial"/>
              </a:rPr>
              <a:t>Public Notice &amp; Advertisement</a:t>
            </a:r>
          </a:p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89" name="TextBox 88"/>
          <p:cNvSpPr txBox="1">
            <a:spLocks/>
          </p:cNvSpPr>
          <p:nvPr/>
        </p:nvSpPr>
        <p:spPr>
          <a:xfrm>
            <a:off x="6048356" y="2824085"/>
            <a:ext cx="3381178" cy="50783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r>
              <a:rPr lang="en-US" sz="1400" b="1" dirty="0" smtClean="0">
                <a:solidFill>
                  <a:prstClr val="black"/>
                </a:solidFill>
                <a:latin typeface="Arial"/>
              </a:rPr>
              <a:t>RFP Opening</a:t>
            </a:r>
          </a:p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0" name="TextBox 89"/>
          <p:cNvSpPr txBox="1">
            <a:spLocks/>
          </p:cNvSpPr>
          <p:nvPr/>
        </p:nvSpPr>
        <p:spPr>
          <a:xfrm>
            <a:off x="8846425" y="2868509"/>
            <a:ext cx="3041291" cy="109260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r>
              <a:rPr lang="en-US" sz="1400" b="1" dirty="0" smtClean="0">
                <a:solidFill>
                  <a:prstClr val="black"/>
                </a:solidFill>
                <a:latin typeface="Arial"/>
              </a:rPr>
              <a:t>RFP Evaluation</a:t>
            </a:r>
          </a:p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156930" y="5427735"/>
            <a:ext cx="11677130" cy="699989"/>
          </a:xfrm>
          <a:prstGeom prst="rect">
            <a:avLst/>
          </a:prstGeom>
          <a:solidFill>
            <a:srgbClr val="00549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kern="0" dirty="0">
                <a:solidFill>
                  <a:prstClr val="white"/>
                </a:solidFill>
                <a:latin typeface="Arial"/>
              </a:rPr>
              <a:t>Contract awarded to most qualified suppliers based on rigorous RFP process and thorough evaluation  </a:t>
            </a:r>
          </a:p>
        </p:txBody>
      </p:sp>
      <p:pic>
        <p:nvPicPr>
          <p:cNvPr id="92" name="Picture 9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549413" y="4311614"/>
            <a:ext cx="303483" cy="30483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5478" y="1363811"/>
            <a:ext cx="1120368" cy="1120368"/>
          </a:xfrm>
          <a:prstGeom prst="ellipse">
            <a:avLst/>
          </a:prstGeom>
          <a:ln w="63500" cap="rnd">
            <a:solidFill>
              <a:srgbClr val="00B050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 prst="artDeco"/>
            <a:contourClr>
              <a:srgbClr val="333333"/>
            </a:contourClr>
          </a:sp3d>
        </p:spPr>
      </p:pic>
      <p:sp>
        <p:nvSpPr>
          <p:cNvPr id="95" name="Oval 94"/>
          <p:cNvSpPr/>
          <p:nvPr/>
        </p:nvSpPr>
        <p:spPr>
          <a:xfrm>
            <a:off x="3003694" y="1232273"/>
            <a:ext cx="1422630" cy="1422630"/>
          </a:xfrm>
          <a:prstGeom prst="ellipse">
            <a:avLst/>
          </a:prstGeom>
          <a:solidFill>
            <a:sysClr val="window" lastClr="FFFFFF">
              <a:lumMod val="95000"/>
            </a:sysClr>
          </a:solidFill>
          <a:ln w="12700" cap="flat" cmpd="sng" algn="ctr">
            <a:solidFill>
              <a:srgbClr val="8DC63F">
                <a:shade val="50000"/>
              </a:srgbClr>
            </a:solidFill>
            <a:prstDash val="solid"/>
            <a:miter lim="800000"/>
          </a:ln>
          <a:effectLst>
            <a:innerShdw blurRad="114300">
              <a:prstClr val="black"/>
            </a:innerShdw>
          </a:effectLst>
        </p:spPr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kern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" name="Oval 6"/>
          <p:cNvSpPr/>
          <p:nvPr/>
        </p:nvSpPr>
        <p:spPr>
          <a:xfrm>
            <a:off x="3083675" y="1326426"/>
            <a:ext cx="1267645" cy="1232974"/>
          </a:xfrm>
          <a:prstGeom prst="ellipse">
            <a:avLst/>
          </a:prstGeom>
          <a:solidFill>
            <a:schemeClr val="bg1"/>
          </a:solidFill>
          <a:ln w="38100"/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3618" y="1557266"/>
            <a:ext cx="788280" cy="788280"/>
          </a:xfrm>
          <a:prstGeom prst="rect">
            <a:avLst/>
          </a:prstGeom>
        </p:spPr>
      </p:pic>
      <p:sp>
        <p:nvSpPr>
          <p:cNvPr id="104" name="TextBox 103"/>
          <p:cNvSpPr txBox="1">
            <a:spLocks/>
          </p:cNvSpPr>
          <p:nvPr/>
        </p:nvSpPr>
        <p:spPr>
          <a:xfrm>
            <a:off x="3036016" y="3361508"/>
            <a:ext cx="3339372" cy="120802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Benefits: </a:t>
            </a:r>
          </a:p>
          <a:p>
            <a:pPr marL="0" indent="0">
              <a:spcAft>
                <a:spcPts val="1200"/>
              </a:spcAft>
              <a:buClr>
                <a:prstClr val="black"/>
              </a:buClr>
              <a:buFont typeface="Lucida Grande"/>
              <a:buNone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Advertise RFP notice</a:t>
            </a:r>
          </a:p>
          <a:p>
            <a:pPr marL="0" indent="0">
              <a:spcAft>
                <a:spcPts val="1200"/>
              </a:spcAft>
              <a:buClr>
                <a:prstClr val="black"/>
              </a:buClr>
              <a:buFont typeface="Lucida Grande"/>
              <a:buNone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Host pre-proposal discussions</a:t>
            </a:r>
            <a:endParaRPr lang="en-US" sz="14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05" name="Picture 10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7887" y="3860876"/>
            <a:ext cx="303483" cy="304838"/>
          </a:xfrm>
          <a:prstGeom prst="rect">
            <a:avLst/>
          </a:prstGeom>
        </p:spPr>
      </p:pic>
      <p:pic>
        <p:nvPicPr>
          <p:cNvPr id="106" name="Picture 10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87886" y="4275827"/>
            <a:ext cx="303483" cy="304838"/>
          </a:xfrm>
          <a:prstGeom prst="rect">
            <a:avLst/>
          </a:prstGeom>
        </p:spPr>
      </p:pic>
      <p:sp>
        <p:nvSpPr>
          <p:cNvPr id="110" name="TextBox 109"/>
          <p:cNvSpPr txBox="1">
            <a:spLocks/>
          </p:cNvSpPr>
          <p:nvPr/>
        </p:nvSpPr>
        <p:spPr>
          <a:xfrm>
            <a:off x="291592" y="3361508"/>
            <a:ext cx="3339372" cy="1208023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Benefits: </a:t>
            </a:r>
          </a:p>
          <a:p>
            <a:pPr marL="0" indent="0">
              <a:spcAft>
                <a:spcPts val="1200"/>
              </a:spcAft>
              <a:buClr>
                <a:prstClr val="black"/>
              </a:buClr>
              <a:buNone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Studies membership needs</a:t>
            </a: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Conducts industry research </a:t>
            </a: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6061819" y="3361508"/>
            <a:ext cx="2145143" cy="181588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Benefits:</a:t>
            </a: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Official public RFP opening process for properly submitted proposals</a:t>
            </a:r>
          </a:p>
          <a:p>
            <a:pPr marL="0" indent="0">
              <a:buClr>
                <a:prstClr val="black"/>
              </a:buClr>
              <a:buNone/>
            </a:pPr>
            <a:endParaRPr lang="en-US" sz="1400" dirty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 </a:t>
            </a:r>
            <a:endParaRPr lang="en-US" sz="14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14" name="Picture 1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0212" y="3860876"/>
            <a:ext cx="303483" cy="304838"/>
          </a:xfrm>
          <a:prstGeom prst="rect">
            <a:avLst/>
          </a:prstGeom>
        </p:spPr>
      </p:pic>
      <p:sp>
        <p:nvSpPr>
          <p:cNvPr id="115" name="TextBox 114"/>
          <p:cNvSpPr txBox="1">
            <a:spLocks/>
          </p:cNvSpPr>
          <p:nvPr/>
        </p:nvSpPr>
        <p:spPr>
          <a:xfrm>
            <a:off x="8845897" y="3361508"/>
            <a:ext cx="2670291" cy="210826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266700" lvl="0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800">
                <a:latin typeface="+mn-lt"/>
                <a:cs typeface="+mn-cs"/>
              </a:defRPr>
            </a:lvl1pPr>
            <a:lvl2pPr marL="623888" lvl="1" indent="-266700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600">
                <a:latin typeface="+mn-lt"/>
                <a:cs typeface="+mn-cs"/>
              </a:defRPr>
            </a:lvl2pPr>
            <a:lvl3pPr marL="898525" lvl="2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400">
                <a:latin typeface="+mn-lt"/>
                <a:cs typeface="+mn-cs"/>
              </a:defRPr>
            </a:lvl3pPr>
            <a:lvl4pPr marL="1163638" lvl="3" indent="-265113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4pPr>
            <a:lvl5pPr marL="1438275" lvl="4" indent="-274638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5pPr>
            <a:lvl6pPr marL="1703388" lvl="5" indent="-265113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Lucida Grande"/>
              <a:buChar char="▪"/>
              <a:defRPr sz="1200">
                <a:latin typeface="+mn-lt"/>
                <a:cs typeface="+mn-cs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>
                <a:latin typeface="+mn-lt"/>
                <a:cs typeface="+mn-cs"/>
              </a:defRPr>
            </a:lvl9pPr>
          </a:lstStyle>
          <a:p>
            <a:pPr marL="0" indent="0">
              <a:buClr>
                <a:prstClr val="black"/>
              </a:buClr>
              <a:buFont typeface="Lucida Grande"/>
              <a:buNone/>
            </a:pPr>
            <a:endParaRPr lang="en-US" sz="1400" dirty="0" smtClean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Benefits:</a:t>
            </a: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>
                <a:solidFill>
                  <a:prstClr val="black"/>
                </a:solidFill>
                <a:latin typeface="Arial"/>
              </a:rPr>
              <a:t>Review proposals and evaluate on standardized scoring 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criteria</a:t>
            </a: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Expertise in RFP evaluations across many supplier categories</a:t>
            </a:r>
            <a:endParaRPr lang="en-US" sz="1400" dirty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None/>
            </a:pPr>
            <a:endParaRPr lang="en-US" sz="1400" dirty="0">
              <a:solidFill>
                <a:prstClr val="black"/>
              </a:solidFill>
              <a:latin typeface="Arial"/>
            </a:endParaRPr>
          </a:p>
          <a:p>
            <a:pPr marL="0" indent="0">
              <a:buClr>
                <a:prstClr val="black"/>
              </a:buClr>
              <a:buNone/>
            </a:pPr>
            <a:r>
              <a:rPr lang="en-US" sz="1400" dirty="0" smtClean="0">
                <a:solidFill>
                  <a:prstClr val="black"/>
                </a:solidFill>
                <a:latin typeface="Arial"/>
              </a:rPr>
              <a:t> </a:t>
            </a:r>
            <a:endParaRPr lang="en-US" sz="14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54415" y="3880543"/>
            <a:ext cx="303483" cy="304838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90121" y="4428246"/>
            <a:ext cx="303483" cy="304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40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1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EcGxjrTOaJFjlLmwpG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3S3zeoDTKS94B6kC3TED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K7XKpRRM6MqsxLhv5iD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5PPGv8Tn2I1XLs2flR1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3OysiVTHac4VaMtQyFe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FOaxYCSoqkZbZC2RvH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eTwI9ETUKLTsQ0Xzngy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ONH87iQRmupRA4aDxY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dO6TO5QsiXplAbrOWNP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LS8WbLQ9qA6AjXW.j0B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kdcMSiSuuBWGlMut1YC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57CCl_SZSUj7bZhZ1w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JCI VILT 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JC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C_Template_2.4-wide.potx" id="{6D4E9BE6-C6B7-4A99-821E-09D0B90683DB}" vid="{B39A062B-2707-4A90-9A85-69FF96EDECCA}"/>
    </a:ext>
  </a:extLst>
</a:theme>
</file>

<file path=ppt/theme/theme2.xml><?xml version="1.0" encoding="utf-8"?>
<a:theme xmlns:a="http://schemas.openxmlformats.org/drawingml/2006/main" name="JCI VILT 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JC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C_Template_2.4-wide.potx" id="{6D4E9BE6-C6B7-4A99-821E-09D0B90683DB}" vid="{B39A062B-2707-4A90-9A85-69FF96EDECCA}"/>
    </a:ext>
  </a:extLst>
</a:theme>
</file>

<file path=ppt/theme/theme3.xml><?xml version="1.0" encoding="utf-8"?>
<a:theme xmlns:a="http://schemas.openxmlformats.org/drawingml/2006/main" name="4_JCI Master template 1.0">
  <a:themeElements>
    <a:clrScheme name="Custom 1">
      <a:dk1>
        <a:sysClr val="windowText" lastClr="000000"/>
      </a:dk1>
      <a:lt1>
        <a:sysClr val="window" lastClr="FFFFFF"/>
      </a:lt1>
      <a:dk2>
        <a:srgbClr val="00549E"/>
      </a:dk2>
      <a:lt2>
        <a:srgbClr val="878A8F"/>
      </a:lt2>
      <a:accent1>
        <a:srgbClr val="8DC63F"/>
      </a:accent1>
      <a:accent2>
        <a:srgbClr val="00BCE4"/>
      </a:accent2>
      <a:accent3>
        <a:srgbClr val="00B7A8"/>
      </a:accent3>
      <a:accent4>
        <a:srgbClr val="CB2439"/>
      </a:accent4>
      <a:accent5>
        <a:srgbClr val="F47721"/>
      </a:accent5>
      <a:accent6>
        <a:srgbClr val="D6D525"/>
      </a:accent6>
      <a:hlink>
        <a:srgbClr val="00549E"/>
      </a:hlink>
      <a:folHlink>
        <a:srgbClr val="800080"/>
      </a:folHlink>
    </a:clrScheme>
    <a:fontScheme name="JC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CI_1.02" id="{D3DCBD3C-25BA-4859-A563-7AFA569BCB64}" vid="{906A27E8-AAAC-447D-BE1F-5F4E0FAFA06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JCI Master template 1.0">
  <a:themeElements>
    <a:clrScheme name="Custom 1">
      <a:dk1>
        <a:sysClr val="windowText" lastClr="000000"/>
      </a:dk1>
      <a:lt1>
        <a:sysClr val="window" lastClr="FFFFFF"/>
      </a:lt1>
      <a:dk2>
        <a:srgbClr val="00549E"/>
      </a:dk2>
      <a:lt2>
        <a:srgbClr val="878A8F"/>
      </a:lt2>
      <a:accent1>
        <a:srgbClr val="8DC63F"/>
      </a:accent1>
      <a:accent2>
        <a:srgbClr val="00BCE4"/>
      </a:accent2>
      <a:accent3>
        <a:srgbClr val="00B7A8"/>
      </a:accent3>
      <a:accent4>
        <a:srgbClr val="CB2439"/>
      </a:accent4>
      <a:accent5>
        <a:srgbClr val="F47721"/>
      </a:accent5>
      <a:accent6>
        <a:srgbClr val="D6D525"/>
      </a:accent6>
      <a:hlink>
        <a:srgbClr val="00549E"/>
      </a:hlink>
      <a:folHlink>
        <a:srgbClr val="800080"/>
      </a:folHlink>
    </a:clrScheme>
    <a:fontScheme name="JC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CI_1.02" id="{D3DCBD3C-25BA-4859-A563-7AFA569BCB64}" vid="{906A27E8-AAAC-447D-BE1F-5F4E0FAFA069}"/>
    </a:ext>
  </a:extLst>
</a:theme>
</file>

<file path=ppt/theme/theme6.xml><?xml version="1.0" encoding="utf-8"?>
<a:theme xmlns:a="http://schemas.openxmlformats.org/drawingml/2006/main" name="2_JCI VILT template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JC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C_Template_2.4-wide.potx" id="{6D4E9BE6-C6B7-4A99-821E-09D0B90683DB}" vid="{B39A062B-2707-4A90-9A85-69FF96EDECCA}"/>
    </a:ext>
  </a:extLst>
</a:theme>
</file>

<file path=ppt/theme/theme7.xml><?xml version="1.0" encoding="utf-8"?>
<a:theme xmlns:a="http://schemas.openxmlformats.org/drawingml/2006/main" name="2_JCI Master template 1.0">
  <a:themeElements>
    <a:clrScheme name="Custom 1">
      <a:dk1>
        <a:sysClr val="windowText" lastClr="000000"/>
      </a:dk1>
      <a:lt1>
        <a:sysClr val="window" lastClr="FFFFFF"/>
      </a:lt1>
      <a:dk2>
        <a:srgbClr val="00549E"/>
      </a:dk2>
      <a:lt2>
        <a:srgbClr val="878A8F"/>
      </a:lt2>
      <a:accent1>
        <a:srgbClr val="8DC63F"/>
      </a:accent1>
      <a:accent2>
        <a:srgbClr val="00BCE4"/>
      </a:accent2>
      <a:accent3>
        <a:srgbClr val="00B7A8"/>
      </a:accent3>
      <a:accent4>
        <a:srgbClr val="CB2439"/>
      </a:accent4>
      <a:accent5>
        <a:srgbClr val="F47721"/>
      </a:accent5>
      <a:accent6>
        <a:srgbClr val="D6D525"/>
      </a:accent6>
      <a:hlink>
        <a:srgbClr val="00549E"/>
      </a:hlink>
      <a:folHlink>
        <a:srgbClr val="800080"/>
      </a:folHlink>
    </a:clrScheme>
    <a:fontScheme name="JC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JCI_1.02" id="{D3DCBD3C-25BA-4859-A563-7AFA569BCB64}" vid="{906A27E8-AAAC-447D-BE1F-5F4E0FAFA069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157</TotalTime>
  <Words>496</Words>
  <Application>Microsoft Office PowerPoint</Application>
  <PresentationFormat>Widescreen</PresentationFormat>
  <Paragraphs>11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8" baseType="lpstr">
      <vt:lpstr>Arial</vt:lpstr>
      <vt:lpstr>Calibri</vt:lpstr>
      <vt:lpstr>Calibri Light</vt:lpstr>
      <vt:lpstr>Futura Hv</vt:lpstr>
      <vt:lpstr>Futura Lt</vt:lpstr>
      <vt:lpstr>Lucida Grande</vt:lpstr>
      <vt:lpstr>Roboto</vt:lpstr>
      <vt:lpstr>Wingdings</vt:lpstr>
      <vt:lpstr>YouTube Noto</vt:lpstr>
      <vt:lpstr>1_JCI VILT template</vt:lpstr>
      <vt:lpstr>JCI VILT template</vt:lpstr>
      <vt:lpstr>4_JCI Master template 1.0</vt:lpstr>
      <vt:lpstr>Office Theme</vt:lpstr>
      <vt:lpstr>JCI Master template 1.0</vt:lpstr>
      <vt:lpstr>2_JCI VILT template</vt:lpstr>
      <vt:lpstr>2_JCI Master template 1.0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Q-field Standard Operating Cadence – FY18</dc:title>
  <dc:creator>Angela M Sprau</dc:creator>
  <cp:lastModifiedBy>Andrew Pergande</cp:lastModifiedBy>
  <cp:revision>92</cp:revision>
  <cp:lastPrinted>2019-01-07T19:31:38Z</cp:lastPrinted>
  <dcterms:modified xsi:type="dcterms:W3CDTF">2019-05-02T14:38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MSIP_Label_6be01c0c-f9b3-4dc4-af0b-a82110cc37cd_Enabled">
    <vt:lpwstr>True</vt:lpwstr>
  </property>
  <property fmtid="{D5CDD505-2E9C-101B-9397-08002B2CF9AE}" pid="4" name="MSIP_Label_6be01c0c-f9b3-4dc4-af0b-a82110cc37cd_SiteId">
    <vt:lpwstr>a1f1e214-7ded-45b6-81a1-9e8ae3459641</vt:lpwstr>
  </property>
  <property fmtid="{D5CDD505-2E9C-101B-9397-08002B2CF9AE}" pid="5" name="MSIP_Label_6be01c0c-f9b3-4dc4-af0b-a82110cc37cd_Owner">
    <vt:lpwstr>janninj@jci.com</vt:lpwstr>
  </property>
  <property fmtid="{D5CDD505-2E9C-101B-9397-08002B2CF9AE}" pid="6" name="MSIP_Label_6be01c0c-f9b3-4dc4-af0b-a82110cc37cd_SetDate">
    <vt:lpwstr>2019-03-28T19:12:16.6385230Z</vt:lpwstr>
  </property>
  <property fmtid="{D5CDD505-2E9C-101B-9397-08002B2CF9AE}" pid="7" name="MSIP_Label_6be01c0c-f9b3-4dc4-af0b-a82110cc37cd_Name">
    <vt:lpwstr>Internal </vt:lpwstr>
  </property>
  <property fmtid="{D5CDD505-2E9C-101B-9397-08002B2CF9AE}" pid="8" name="MSIP_Label_6be01c0c-f9b3-4dc4-af0b-a82110cc37cd_Application">
    <vt:lpwstr>Microsoft Azure Information Protection</vt:lpwstr>
  </property>
  <property fmtid="{D5CDD505-2E9C-101B-9397-08002B2CF9AE}" pid="9" name="MSIP_Label_6be01c0c-f9b3-4dc4-af0b-a82110cc37cd_Extended_MSFT_Method">
    <vt:lpwstr>Automatic</vt:lpwstr>
  </property>
  <property fmtid="{D5CDD505-2E9C-101B-9397-08002B2CF9AE}" pid="10" name="Information Classification">
    <vt:lpwstr>Internal </vt:lpwstr>
  </property>
</Properties>
</file>